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3"/>
  </p:notesMasterIdLst>
  <p:sldIdLst>
    <p:sldId id="256" r:id="rId2"/>
  </p:sldIdLst>
  <p:sldSz cx="17068800" cy="9601200"/>
  <p:notesSz cx="6858000" cy="9144000"/>
  <p:custDataLst>
    <p:tags r:id="rId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>
        <p:scale>
          <a:sx n="75" d="100"/>
          <a:sy n="75" d="100"/>
        </p:scale>
        <p:origin x="79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770819-BF1D-49D5-AD58-F17BA37FD840}" type="datetimeFigureOut">
              <a:rPr lang="de-DE" smtClean="0"/>
              <a:t>17.08.2025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033A82-AD99-4D07-8C58-C682429ADED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94530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75334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1pPr>
    <a:lvl2pPr marL="537667" algn="l" defTabSz="1075334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2pPr>
    <a:lvl3pPr marL="1075334" algn="l" defTabSz="1075334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3pPr>
    <a:lvl4pPr marL="1613002" algn="l" defTabSz="1075334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4pPr>
    <a:lvl5pPr marL="2150669" algn="l" defTabSz="1075334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5pPr>
    <a:lvl6pPr marL="2688336" algn="l" defTabSz="1075334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6pPr>
    <a:lvl7pPr marL="3226003" algn="l" defTabSz="1075334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7pPr>
    <a:lvl8pPr marL="3763670" algn="l" defTabSz="1075334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8pPr>
    <a:lvl9pPr marL="4301338" algn="l" defTabSz="1075334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033A82-AD99-4D07-8C58-C682429ADED2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564924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33600" y="1571308"/>
            <a:ext cx="12801600" cy="3342640"/>
          </a:xfrm>
        </p:spPr>
        <p:txBody>
          <a:bodyPr anchor="b"/>
          <a:lstStyle>
            <a:lvl1pPr algn="ctr">
              <a:defRPr sz="8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33600" y="5042853"/>
            <a:ext cx="12801600" cy="2318067"/>
          </a:xfrm>
        </p:spPr>
        <p:txBody>
          <a:bodyPr/>
          <a:lstStyle>
            <a:lvl1pPr marL="0" indent="0" algn="ctr">
              <a:buNone/>
              <a:defRPr sz="3360"/>
            </a:lvl1pPr>
            <a:lvl2pPr marL="640080" indent="0" algn="ctr">
              <a:buNone/>
              <a:defRPr sz="2800"/>
            </a:lvl2pPr>
            <a:lvl3pPr marL="1280160" indent="0" algn="ctr">
              <a:buNone/>
              <a:defRPr sz="2520"/>
            </a:lvl3pPr>
            <a:lvl4pPr marL="1920240" indent="0" algn="ctr">
              <a:buNone/>
              <a:defRPr sz="2240"/>
            </a:lvl4pPr>
            <a:lvl5pPr marL="2560320" indent="0" algn="ctr">
              <a:buNone/>
              <a:defRPr sz="2240"/>
            </a:lvl5pPr>
            <a:lvl6pPr marL="3200400" indent="0" algn="ctr">
              <a:buNone/>
              <a:defRPr sz="2240"/>
            </a:lvl6pPr>
            <a:lvl7pPr marL="3840480" indent="0" algn="ctr">
              <a:buNone/>
              <a:defRPr sz="2240"/>
            </a:lvl7pPr>
            <a:lvl8pPr marL="4480560" indent="0" algn="ctr">
              <a:buNone/>
              <a:defRPr sz="2240"/>
            </a:lvl8pPr>
            <a:lvl9pPr marL="5120640" indent="0" algn="ctr">
              <a:buNone/>
              <a:defRPr sz="224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121C4A-FDEF-455E-BD29-BE3871563CEC}" type="datetimeFigureOut">
              <a:rPr lang="de-DE" smtClean="0"/>
              <a:t>16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B1778-C74B-4EDB-845D-B9EC317D6F9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0686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121C4A-FDEF-455E-BD29-BE3871563CEC}" type="datetimeFigureOut">
              <a:rPr lang="de-DE" smtClean="0"/>
              <a:t>16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B1778-C74B-4EDB-845D-B9EC317D6F9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590778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2214860" y="511175"/>
            <a:ext cx="3680460" cy="813657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73480" y="511175"/>
            <a:ext cx="10828020" cy="813657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121C4A-FDEF-455E-BD29-BE3871563CEC}" type="datetimeFigureOut">
              <a:rPr lang="de-DE" smtClean="0"/>
              <a:t>16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B1778-C74B-4EDB-845D-B9EC317D6F9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11617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121C4A-FDEF-455E-BD29-BE3871563CEC}" type="datetimeFigureOut">
              <a:rPr lang="de-DE" smtClean="0"/>
              <a:t>16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B1778-C74B-4EDB-845D-B9EC317D6F9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111850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4590" y="2393634"/>
            <a:ext cx="14721840" cy="3993832"/>
          </a:xfrm>
        </p:spPr>
        <p:txBody>
          <a:bodyPr anchor="b"/>
          <a:lstStyle>
            <a:lvl1pPr>
              <a:defRPr sz="8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64590" y="6425249"/>
            <a:ext cx="14721840" cy="2100262"/>
          </a:xfrm>
        </p:spPr>
        <p:txBody>
          <a:bodyPr/>
          <a:lstStyle>
            <a:lvl1pPr marL="0" indent="0">
              <a:buNone/>
              <a:defRPr sz="3360">
                <a:solidFill>
                  <a:schemeClr val="tx1">
                    <a:tint val="82000"/>
                  </a:schemeClr>
                </a:solidFill>
              </a:defRPr>
            </a:lvl1pPr>
            <a:lvl2pPr marL="640080" indent="0">
              <a:buNone/>
              <a:defRPr sz="2800">
                <a:solidFill>
                  <a:schemeClr val="tx1">
                    <a:tint val="82000"/>
                  </a:schemeClr>
                </a:solidFill>
              </a:defRPr>
            </a:lvl2pPr>
            <a:lvl3pPr marL="1280160" indent="0">
              <a:buNone/>
              <a:defRPr sz="2520">
                <a:solidFill>
                  <a:schemeClr val="tx1">
                    <a:tint val="82000"/>
                  </a:schemeClr>
                </a:solidFill>
              </a:defRPr>
            </a:lvl3pPr>
            <a:lvl4pPr marL="1920240" indent="0">
              <a:buNone/>
              <a:defRPr sz="2240">
                <a:solidFill>
                  <a:schemeClr val="tx1">
                    <a:tint val="82000"/>
                  </a:schemeClr>
                </a:solidFill>
              </a:defRPr>
            </a:lvl4pPr>
            <a:lvl5pPr marL="2560320" indent="0">
              <a:buNone/>
              <a:defRPr sz="2240">
                <a:solidFill>
                  <a:schemeClr val="tx1">
                    <a:tint val="82000"/>
                  </a:schemeClr>
                </a:solidFill>
              </a:defRPr>
            </a:lvl5pPr>
            <a:lvl6pPr marL="3200400" indent="0">
              <a:buNone/>
              <a:defRPr sz="2240">
                <a:solidFill>
                  <a:schemeClr val="tx1">
                    <a:tint val="82000"/>
                  </a:schemeClr>
                </a:solidFill>
              </a:defRPr>
            </a:lvl6pPr>
            <a:lvl7pPr marL="3840480" indent="0">
              <a:buNone/>
              <a:defRPr sz="2240">
                <a:solidFill>
                  <a:schemeClr val="tx1">
                    <a:tint val="82000"/>
                  </a:schemeClr>
                </a:solidFill>
              </a:defRPr>
            </a:lvl7pPr>
            <a:lvl8pPr marL="4480560" indent="0">
              <a:buNone/>
              <a:defRPr sz="2240">
                <a:solidFill>
                  <a:schemeClr val="tx1">
                    <a:tint val="82000"/>
                  </a:schemeClr>
                </a:solidFill>
              </a:defRPr>
            </a:lvl8pPr>
            <a:lvl9pPr marL="5120640" indent="0">
              <a:buNone/>
              <a:defRPr sz="224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121C4A-FDEF-455E-BD29-BE3871563CEC}" type="datetimeFigureOut">
              <a:rPr lang="de-DE" smtClean="0"/>
              <a:t>16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B1778-C74B-4EDB-845D-B9EC317D6F9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37548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73480" y="2555875"/>
            <a:ext cx="7254240" cy="60918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41080" y="2555875"/>
            <a:ext cx="7254240" cy="60918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121C4A-FDEF-455E-BD29-BE3871563CEC}" type="datetimeFigureOut">
              <a:rPr lang="de-DE" smtClean="0"/>
              <a:t>16.08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B1778-C74B-4EDB-845D-B9EC317D6F9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52536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5703" y="511176"/>
            <a:ext cx="14721840" cy="18557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75704" y="2353628"/>
            <a:ext cx="7220902" cy="115347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80" indent="0">
              <a:buNone/>
              <a:defRPr sz="2800" b="1"/>
            </a:lvl2pPr>
            <a:lvl3pPr marL="1280160" indent="0">
              <a:buNone/>
              <a:defRPr sz="2520" b="1"/>
            </a:lvl3pPr>
            <a:lvl4pPr marL="1920240" indent="0">
              <a:buNone/>
              <a:defRPr sz="2240" b="1"/>
            </a:lvl4pPr>
            <a:lvl5pPr marL="2560320" indent="0">
              <a:buNone/>
              <a:defRPr sz="2240" b="1"/>
            </a:lvl5pPr>
            <a:lvl6pPr marL="3200400" indent="0">
              <a:buNone/>
              <a:defRPr sz="2240" b="1"/>
            </a:lvl6pPr>
            <a:lvl7pPr marL="3840480" indent="0">
              <a:buNone/>
              <a:defRPr sz="2240" b="1"/>
            </a:lvl7pPr>
            <a:lvl8pPr marL="4480560" indent="0">
              <a:buNone/>
              <a:defRPr sz="2240" b="1"/>
            </a:lvl8pPr>
            <a:lvl9pPr marL="5120640" indent="0">
              <a:buNone/>
              <a:defRPr sz="224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75704" y="3507105"/>
            <a:ext cx="7220902" cy="51584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8641080" y="2353628"/>
            <a:ext cx="7256463" cy="115347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80" indent="0">
              <a:buNone/>
              <a:defRPr sz="2800" b="1"/>
            </a:lvl2pPr>
            <a:lvl3pPr marL="1280160" indent="0">
              <a:buNone/>
              <a:defRPr sz="2520" b="1"/>
            </a:lvl3pPr>
            <a:lvl4pPr marL="1920240" indent="0">
              <a:buNone/>
              <a:defRPr sz="2240" b="1"/>
            </a:lvl4pPr>
            <a:lvl5pPr marL="2560320" indent="0">
              <a:buNone/>
              <a:defRPr sz="2240" b="1"/>
            </a:lvl5pPr>
            <a:lvl6pPr marL="3200400" indent="0">
              <a:buNone/>
              <a:defRPr sz="2240" b="1"/>
            </a:lvl6pPr>
            <a:lvl7pPr marL="3840480" indent="0">
              <a:buNone/>
              <a:defRPr sz="2240" b="1"/>
            </a:lvl7pPr>
            <a:lvl8pPr marL="4480560" indent="0">
              <a:buNone/>
              <a:defRPr sz="2240" b="1"/>
            </a:lvl8pPr>
            <a:lvl9pPr marL="5120640" indent="0">
              <a:buNone/>
              <a:defRPr sz="224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8641080" y="3507105"/>
            <a:ext cx="7256463" cy="51584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121C4A-FDEF-455E-BD29-BE3871563CEC}" type="datetimeFigureOut">
              <a:rPr lang="de-DE" smtClean="0"/>
              <a:t>16.08.2025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B1778-C74B-4EDB-845D-B9EC317D6F9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135145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121C4A-FDEF-455E-BD29-BE3871563CEC}" type="datetimeFigureOut">
              <a:rPr lang="de-DE" smtClean="0"/>
              <a:t>16.08.2025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B1778-C74B-4EDB-845D-B9EC317D6F9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846099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70107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5704" y="640080"/>
            <a:ext cx="5505132" cy="2240280"/>
          </a:xfrm>
        </p:spPr>
        <p:txBody>
          <a:bodyPr anchor="b"/>
          <a:lstStyle>
            <a:lvl1pPr>
              <a:defRPr sz="448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56463" y="1382396"/>
            <a:ext cx="8641080" cy="6823075"/>
          </a:xfrm>
        </p:spPr>
        <p:txBody>
          <a:bodyPr/>
          <a:lstStyle>
            <a:lvl1pPr>
              <a:defRPr sz="4480"/>
            </a:lvl1pPr>
            <a:lvl2pPr>
              <a:defRPr sz="3920"/>
            </a:lvl2pPr>
            <a:lvl3pPr>
              <a:defRPr sz="336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75704" y="2880360"/>
            <a:ext cx="5505132" cy="5336223"/>
          </a:xfrm>
        </p:spPr>
        <p:txBody>
          <a:bodyPr/>
          <a:lstStyle>
            <a:lvl1pPr marL="0" indent="0">
              <a:buNone/>
              <a:defRPr sz="2240"/>
            </a:lvl1pPr>
            <a:lvl2pPr marL="640080" indent="0">
              <a:buNone/>
              <a:defRPr sz="1960"/>
            </a:lvl2pPr>
            <a:lvl3pPr marL="1280160" indent="0">
              <a:buNone/>
              <a:defRPr sz="1680"/>
            </a:lvl3pPr>
            <a:lvl4pPr marL="1920240" indent="0">
              <a:buNone/>
              <a:defRPr sz="1400"/>
            </a:lvl4pPr>
            <a:lvl5pPr marL="2560320" indent="0">
              <a:buNone/>
              <a:defRPr sz="1400"/>
            </a:lvl5pPr>
            <a:lvl6pPr marL="3200400" indent="0">
              <a:buNone/>
              <a:defRPr sz="1400"/>
            </a:lvl6pPr>
            <a:lvl7pPr marL="3840480" indent="0">
              <a:buNone/>
              <a:defRPr sz="1400"/>
            </a:lvl7pPr>
            <a:lvl8pPr marL="4480560" indent="0">
              <a:buNone/>
              <a:defRPr sz="1400"/>
            </a:lvl8pPr>
            <a:lvl9pPr marL="512064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121C4A-FDEF-455E-BD29-BE3871563CEC}" type="datetimeFigureOut">
              <a:rPr lang="de-DE" smtClean="0"/>
              <a:t>16.08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B1778-C74B-4EDB-845D-B9EC317D6F9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20010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5704" y="640080"/>
            <a:ext cx="5505132" cy="2240280"/>
          </a:xfrm>
        </p:spPr>
        <p:txBody>
          <a:bodyPr anchor="b"/>
          <a:lstStyle>
            <a:lvl1pPr>
              <a:defRPr sz="448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256463" y="1382396"/>
            <a:ext cx="8641080" cy="6823075"/>
          </a:xfrm>
        </p:spPr>
        <p:txBody>
          <a:bodyPr anchor="t"/>
          <a:lstStyle>
            <a:lvl1pPr marL="0" indent="0">
              <a:buNone/>
              <a:defRPr sz="4480"/>
            </a:lvl1pPr>
            <a:lvl2pPr marL="640080" indent="0">
              <a:buNone/>
              <a:defRPr sz="3920"/>
            </a:lvl2pPr>
            <a:lvl3pPr marL="1280160" indent="0">
              <a:buNone/>
              <a:defRPr sz="3360"/>
            </a:lvl3pPr>
            <a:lvl4pPr marL="1920240" indent="0">
              <a:buNone/>
              <a:defRPr sz="2800"/>
            </a:lvl4pPr>
            <a:lvl5pPr marL="2560320" indent="0">
              <a:buNone/>
              <a:defRPr sz="2800"/>
            </a:lvl5pPr>
            <a:lvl6pPr marL="3200400" indent="0">
              <a:buNone/>
              <a:defRPr sz="2800"/>
            </a:lvl6pPr>
            <a:lvl7pPr marL="3840480" indent="0">
              <a:buNone/>
              <a:defRPr sz="2800"/>
            </a:lvl7pPr>
            <a:lvl8pPr marL="4480560" indent="0">
              <a:buNone/>
              <a:defRPr sz="2800"/>
            </a:lvl8pPr>
            <a:lvl9pPr marL="5120640" indent="0">
              <a:buNone/>
              <a:defRPr sz="28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75704" y="2880360"/>
            <a:ext cx="5505132" cy="5336223"/>
          </a:xfrm>
        </p:spPr>
        <p:txBody>
          <a:bodyPr/>
          <a:lstStyle>
            <a:lvl1pPr marL="0" indent="0">
              <a:buNone/>
              <a:defRPr sz="2240"/>
            </a:lvl1pPr>
            <a:lvl2pPr marL="640080" indent="0">
              <a:buNone/>
              <a:defRPr sz="1960"/>
            </a:lvl2pPr>
            <a:lvl3pPr marL="1280160" indent="0">
              <a:buNone/>
              <a:defRPr sz="1680"/>
            </a:lvl3pPr>
            <a:lvl4pPr marL="1920240" indent="0">
              <a:buNone/>
              <a:defRPr sz="1400"/>
            </a:lvl4pPr>
            <a:lvl5pPr marL="2560320" indent="0">
              <a:buNone/>
              <a:defRPr sz="1400"/>
            </a:lvl5pPr>
            <a:lvl6pPr marL="3200400" indent="0">
              <a:buNone/>
              <a:defRPr sz="1400"/>
            </a:lvl6pPr>
            <a:lvl7pPr marL="3840480" indent="0">
              <a:buNone/>
              <a:defRPr sz="1400"/>
            </a:lvl7pPr>
            <a:lvl8pPr marL="4480560" indent="0">
              <a:buNone/>
              <a:defRPr sz="1400"/>
            </a:lvl8pPr>
            <a:lvl9pPr marL="512064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121C4A-FDEF-455E-BD29-BE3871563CEC}" type="datetimeFigureOut">
              <a:rPr lang="de-DE" smtClean="0"/>
              <a:t>16.08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B1778-C74B-4EDB-845D-B9EC317D6F9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51922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73480" y="511176"/>
            <a:ext cx="14721840" cy="18557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73480" y="2555875"/>
            <a:ext cx="14721840" cy="60918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173480" y="8898891"/>
            <a:ext cx="384048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8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0121C4A-FDEF-455E-BD29-BE3871563CEC}" type="datetimeFigureOut">
              <a:rPr lang="de-DE" smtClean="0"/>
              <a:t>16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54040" y="8898891"/>
            <a:ext cx="576072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8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054840" y="8898891"/>
            <a:ext cx="384048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8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B0B1778-C74B-4EDB-845D-B9EC317D6F9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258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1280160" rtl="0" eaLnBrk="1" latinLnBrk="0" hangingPunct="1">
        <a:lnSpc>
          <a:spcPct val="90000"/>
        </a:lnSpc>
        <a:spcBef>
          <a:spcPct val="0"/>
        </a:spcBef>
        <a:buNone/>
        <a:defRPr sz="61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0040" indent="-320040" algn="l" defTabSz="1280160" rtl="0" eaLnBrk="1" latinLnBrk="0" hangingPunct="1">
        <a:lnSpc>
          <a:spcPct val="90000"/>
        </a:lnSpc>
        <a:spcBef>
          <a:spcPts val="1400"/>
        </a:spcBef>
        <a:buFont typeface="Arial" panose="020B0604020202020204" pitchFamily="34" charset="0"/>
        <a:buChar char="•"/>
        <a:defRPr sz="3920" kern="1200">
          <a:solidFill>
            <a:schemeClr val="tx1"/>
          </a:solidFill>
          <a:latin typeface="+mn-lt"/>
          <a:ea typeface="+mn-ea"/>
          <a:cs typeface="+mn-cs"/>
        </a:defRPr>
      </a:lvl1pPr>
      <a:lvl2pPr marL="96012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3360" kern="1200">
          <a:solidFill>
            <a:schemeClr val="tx1"/>
          </a:solidFill>
          <a:latin typeface="+mn-lt"/>
          <a:ea typeface="+mn-ea"/>
          <a:cs typeface="+mn-cs"/>
        </a:defRPr>
      </a:lvl2pPr>
      <a:lvl3pPr marL="160020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24028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88036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52044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2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44068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6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2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0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48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56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64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tags" Target="../tags/tag27.xml"/><Relationship Id="rId39" Type="http://schemas.openxmlformats.org/officeDocument/2006/relationships/tags" Target="../tags/tag40.xml"/><Relationship Id="rId21" Type="http://schemas.openxmlformats.org/officeDocument/2006/relationships/tags" Target="../tags/tag22.xml"/><Relationship Id="rId34" Type="http://schemas.openxmlformats.org/officeDocument/2006/relationships/tags" Target="../tags/tag35.xml"/><Relationship Id="rId42" Type="http://schemas.openxmlformats.org/officeDocument/2006/relationships/tags" Target="../tags/tag43.xml"/><Relationship Id="rId47" Type="http://schemas.openxmlformats.org/officeDocument/2006/relationships/tags" Target="../tags/tag48.xml"/><Relationship Id="rId50" Type="http://schemas.openxmlformats.org/officeDocument/2006/relationships/slideLayout" Target="../slideLayouts/slideLayout7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9" Type="http://schemas.openxmlformats.org/officeDocument/2006/relationships/tags" Target="../tags/tag30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32" Type="http://schemas.openxmlformats.org/officeDocument/2006/relationships/tags" Target="../tags/tag33.xml"/><Relationship Id="rId37" Type="http://schemas.openxmlformats.org/officeDocument/2006/relationships/tags" Target="../tags/tag38.xml"/><Relationship Id="rId40" Type="http://schemas.openxmlformats.org/officeDocument/2006/relationships/tags" Target="../tags/tag41.xml"/><Relationship Id="rId45" Type="http://schemas.openxmlformats.org/officeDocument/2006/relationships/tags" Target="../tags/tag46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36" Type="http://schemas.openxmlformats.org/officeDocument/2006/relationships/tags" Target="../tags/tag37.xml"/><Relationship Id="rId49" Type="http://schemas.openxmlformats.org/officeDocument/2006/relationships/tags" Target="../tags/tag50.xml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31" Type="http://schemas.openxmlformats.org/officeDocument/2006/relationships/tags" Target="../tags/tag32.xml"/><Relationship Id="rId44" Type="http://schemas.openxmlformats.org/officeDocument/2006/relationships/tags" Target="../tags/tag45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30" Type="http://schemas.openxmlformats.org/officeDocument/2006/relationships/tags" Target="../tags/tag31.xml"/><Relationship Id="rId35" Type="http://schemas.openxmlformats.org/officeDocument/2006/relationships/tags" Target="../tags/tag36.xml"/><Relationship Id="rId43" Type="http://schemas.openxmlformats.org/officeDocument/2006/relationships/tags" Target="../tags/tag44.xml"/><Relationship Id="rId48" Type="http://schemas.openxmlformats.org/officeDocument/2006/relationships/tags" Target="../tags/tag49.xml"/><Relationship Id="rId8" Type="http://schemas.openxmlformats.org/officeDocument/2006/relationships/tags" Target="../tags/tag9.xml"/><Relationship Id="rId51" Type="http://schemas.openxmlformats.org/officeDocument/2006/relationships/notesSlide" Target="../notesSlides/notesSlide1.xml"/><Relationship Id="rId3" Type="http://schemas.openxmlformats.org/officeDocument/2006/relationships/tags" Target="../tags/tag4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33" Type="http://schemas.openxmlformats.org/officeDocument/2006/relationships/tags" Target="../tags/tag34.xml"/><Relationship Id="rId38" Type="http://schemas.openxmlformats.org/officeDocument/2006/relationships/tags" Target="../tags/tag39.xml"/><Relationship Id="rId46" Type="http://schemas.openxmlformats.org/officeDocument/2006/relationships/tags" Target="../tags/tag47.xml"/><Relationship Id="rId20" Type="http://schemas.openxmlformats.org/officeDocument/2006/relationships/tags" Target="../tags/tag21.xml"/><Relationship Id="rId41" Type="http://schemas.openxmlformats.org/officeDocument/2006/relationships/tags" Target="../tags/tag42.xml"/><Relationship Id="rId1" Type="http://schemas.openxmlformats.org/officeDocument/2006/relationships/tags" Target="../tags/tag2.xml"/><Relationship Id="rId6" Type="http://schemas.openxmlformats.org/officeDocument/2006/relationships/tags" Target="../tags/tag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Flowchart: Process 119">
            <a:extLst>
              <a:ext uri="{FF2B5EF4-FFF2-40B4-BE49-F238E27FC236}">
                <a16:creationId xmlns:a16="http://schemas.microsoft.com/office/drawing/2014/main" id="{1270002D-DA65-FC32-480A-9A3BEACB822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294036" y="128712"/>
            <a:ext cx="1032070" cy="512075"/>
          </a:xfrm>
          <a:prstGeom prst="flowChartProcess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algn="ctr" defTabSz="533400">
              <a:spcBef>
                <a:spcPct val="0"/>
              </a:spcBef>
              <a:spcAft>
                <a:spcPts val="100"/>
              </a:spcAft>
            </a:pPr>
            <a:r>
              <a:rPr lang="en-GB" sz="1000" noProof="1">
                <a:latin typeface="Aptos Narrow" panose="020B0004020202020204" pitchFamily="34" charset="0"/>
              </a:rPr>
              <a:t>PCF</a:t>
            </a:r>
          </a:p>
        </p:txBody>
      </p:sp>
      <p:sp>
        <p:nvSpPr>
          <p:cNvPr id="121" name="Flowchart: Process 120">
            <a:extLst>
              <a:ext uri="{FF2B5EF4-FFF2-40B4-BE49-F238E27FC236}">
                <a16:creationId xmlns:a16="http://schemas.microsoft.com/office/drawing/2014/main" id="{0F019D11-2FEE-DDA2-BD0E-6EECB7B850A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67895" y="1095923"/>
            <a:ext cx="1247185" cy="512075"/>
          </a:xfrm>
          <a:prstGeom prst="flowChartProcess">
            <a:avLst/>
          </a:prstGeom>
          <a:solidFill>
            <a:schemeClr val="tx2">
              <a:lumMod val="75000"/>
              <a:lumOff val="2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algn="ctr" defTabSz="533400">
              <a:spcBef>
                <a:spcPct val="0"/>
              </a:spcBef>
              <a:spcAft>
                <a:spcPts val="100"/>
              </a:spcAft>
            </a:pPr>
            <a:r>
              <a:rPr lang="en-GB" sz="1000" noProof="1">
                <a:latin typeface="Aptos Narrow" panose="020B0004020202020204" pitchFamily="34" charset="0"/>
              </a:rPr>
              <a:t>Scope of PCF Form</a:t>
            </a:r>
          </a:p>
        </p:txBody>
      </p:sp>
      <p:sp>
        <p:nvSpPr>
          <p:cNvPr id="122" name="Flowchart: Process 121">
            <a:extLst>
              <a:ext uri="{FF2B5EF4-FFF2-40B4-BE49-F238E27FC236}">
                <a16:creationId xmlns:a16="http://schemas.microsoft.com/office/drawing/2014/main" id="{5C881D20-07F0-5BED-19E1-A396E39A3BD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925472" y="1095923"/>
            <a:ext cx="2069449" cy="512075"/>
          </a:xfrm>
          <a:prstGeom prst="flowChartProcess">
            <a:avLst/>
          </a:prstGeom>
          <a:solidFill>
            <a:schemeClr val="tx2">
              <a:lumMod val="75000"/>
              <a:lumOff val="2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algn="ctr" defTabSz="533400">
              <a:spcBef>
                <a:spcPct val="0"/>
              </a:spcBef>
              <a:spcAft>
                <a:spcPts val="100"/>
              </a:spcAft>
            </a:pPr>
            <a:r>
              <a:rPr lang="en-GB" sz="1000" noProof="1">
                <a:latin typeface="Aptos Narrow" panose="020B0004020202020204" pitchFamily="34" charset="0"/>
              </a:rPr>
              <a:t>Company and Product Information</a:t>
            </a:r>
          </a:p>
        </p:txBody>
      </p:sp>
      <p:sp>
        <p:nvSpPr>
          <p:cNvPr id="123" name="Flowchart: Process 122">
            <a:extLst>
              <a:ext uri="{FF2B5EF4-FFF2-40B4-BE49-F238E27FC236}">
                <a16:creationId xmlns:a16="http://schemas.microsoft.com/office/drawing/2014/main" id="{44245C93-6C2E-F159-C2F3-80E5B88CECA3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983489" y="2518786"/>
            <a:ext cx="1494420" cy="512075"/>
          </a:xfrm>
          <a:prstGeom prst="flowChartProcess">
            <a:avLst/>
          </a:prstGeom>
          <a:solidFill>
            <a:schemeClr val="tx2">
              <a:lumMod val="50000"/>
              <a:lumOff val="5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algn="ctr" defTabSz="533400">
              <a:spcBef>
                <a:spcPct val="0"/>
              </a:spcBef>
              <a:spcAft>
                <a:spcPts val="100"/>
              </a:spcAft>
            </a:pPr>
            <a:r>
              <a:rPr lang="en-GB" sz="1000" noProof="1">
                <a:latin typeface="Aptos Narrow" panose="020B0004020202020204" pitchFamily="34" charset="0"/>
              </a:rPr>
              <a:t>Company Information</a:t>
            </a:r>
          </a:p>
        </p:txBody>
      </p:sp>
      <p:sp>
        <p:nvSpPr>
          <p:cNvPr id="124" name="Flowchart: Process 123">
            <a:extLst>
              <a:ext uri="{FF2B5EF4-FFF2-40B4-BE49-F238E27FC236}">
                <a16:creationId xmlns:a16="http://schemas.microsoft.com/office/drawing/2014/main" id="{D36679D1-8F2F-AB28-52BC-E18C9C5D262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2625315" y="2518786"/>
            <a:ext cx="1741674" cy="512075"/>
          </a:xfrm>
          <a:prstGeom prst="flowChartProcess">
            <a:avLst/>
          </a:prstGeom>
          <a:solidFill>
            <a:schemeClr val="tx2">
              <a:lumMod val="50000"/>
              <a:lumOff val="5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algn="ctr" defTabSz="533400">
              <a:spcBef>
                <a:spcPct val="0"/>
              </a:spcBef>
              <a:spcAft>
                <a:spcPts val="100"/>
              </a:spcAft>
            </a:pPr>
            <a:r>
              <a:rPr lang="en-GB" sz="1000" noProof="1">
                <a:latin typeface="Aptos Narrow" panose="020B0004020202020204" pitchFamily="34" charset="0"/>
              </a:rPr>
              <a:t>Product Information</a:t>
            </a:r>
          </a:p>
        </p:txBody>
      </p:sp>
      <p:sp>
        <p:nvSpPr>
          <p:cNvPr id="125" name="Flowchart: Process 124">
            <a:extLst>
              <a:ext uri="{FF2B5EF4-FFF2-40B4-BE49-F238E27FC236}">
                <a16:creationId xmlns:a16="http://schemas.microsoft.com/office/drawing/2014/main" id="{FE68C98B-9269-E456-7FCA-FC53333BC96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347604" y="1095923"/>
            <a:ext cx="1967031" cy="512075"/>
          </a:xfrm>
          <a:prstGeom prst="flowChartProcess">
            <a:avLst/>
          </a:prstGeom>
          <a:solidFill>
            <a:schemeClr val="tx2">
              <a:lumMod val="75000"/>
              <a:lumOff val="2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algn="ctr" defTabSz="533400">
              <a:spcBef>
                <a:spcPct val="0"/>
              </a:spcBef>
              <a:spcAft>
                <a:spcPts val="100"/>
              </a:spcAft>
            </a:pPr>
            <a:r>
              <a:rPr lang="en-GB" sz="1000" noProof="1">
                <a:latin typeface="Aptos Narrow" panose="020B0004020202020204" pitchFamily="34" charset="0"/>
              </a:rPr>
              <a:t>PCF Assessment and Methodology</a:t>
            </a:r>
          </a:p>
        </p:txBody>
      </p:sp>
      <p:sp>
        <p:nvSpPr>
          <p:cNvPr id="126" name="Flowchart: Process 125">
            <a:extLst>
              <a:ext uri="{FF2B5EF4-FFF2-40B4-BE49-F238E27FC236}">
                <a16:creationId xmlns:a16="http://schemas.microsoft.com/office/drawing/2014/main" id="{39BB477D-9D1F-9693-220D-7B3460F127F1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4440346" y="4725412"/>
            <a:ext cx="1769295" cy="512075"/>
          </a:xfrm>
          <a:prstGeom prst="flowChartProcess">
            <a:avLst/>
          </a:prstGeom>
          <a:solidFill>
            <a:schemeClr val="tx2">
              <a:lumMod val="50000"/>
              <a:lumOff val="5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algn="ctr" defTabSz="533400">
              <a:spcBef>
                <a:spcPct val="0"/>
              </a:spcBef>
              <a:spcAft>
                <a:spcPts val="100"/>
              </a:spcAft>
            </a:pPr>
            <a:r>
              <a:rPr lang="en-GB" sz="1000" noProof="1">
                <a:latin typeface="Aptos Narrow" panose="020B0004020202020204" pitchFamily="34" charset="0"/>
              </a:rPr>
              <a:t>PCF Assessment Information</a:t>
            </a:r>
          </a:p>
        </p:txBody>
      </p:sp>
      <p:sp>
        <p:nvSpPr>
          <p:cNvPr id="127" name="Flowchart: Process 126">
            <a:extLst>
              <a:ext uri="{FF2B5EF4-FFF2-40B4-BE49-F238E27FC236}">
                <a16:creationId xmlns:a16="http://schemas.microsoft.com/office/drawing/2014/main" id="{4FC2ABEC-A85C-E9AD-D481-5F925BB068FC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224970" y="7489202"/>
            <a:ext cx="1589699" cy="504000"/>
          </a:xfrm>
          <a:prstGeom prst="flowChartProcess">
            <a:avLst/>
          </a:prstGeom>
          <a:solidFill>
            <a:schemeClr val="tx2">
              <a:lumMod val="25000"/>
              <a:lumOff val="7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algn="ctr" defTabSz="533400">
              <a:spcBef>
                <a:spcPct val="0"/>
              </a:spcBef>
              <a:spcAft>
                <a:spcPts val="100"/>
              </a:spcAft>
            </a:pPr>
            <a:r>
              <a:rPr lang="en-GB" sz="1000" noProof="1">
                <a:latin typeface="Aptos Narrow" panose="020B0004020202020204" pitchFamily="34" charset="0"/>
              </a:rPr>
              <a:t>ID and Version</a:t>
            </a:r>
          </a:p>
        </p:txBody>
      </p:sp>
      <p:sp>
        <p:nvSpPr>
          <p:cNvPr id="128" name="Flowchart: Process 127">
            <a:extLst>
              <a:ext uri="{FF2B5EF4-FFF2-40B4-BE49-F238E27FC236}">
                <a16:creationId xmlns:a16="http://schemas.microsoft.com/office/drawing/2014/main" id="{CE0E4C20-43B9-28B4-9B6C-B13FCC454B80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274182" y="5892552"/>
            <a:ext cx="1723677" cy="504000"/>
          </a:xfrm>
          <a:prstGeom prst="flowChartProcess">
            <a:avLst/>
          </a:prstGeom>
          <a:solidFill>
            <a:schemeClr val="tx2">
              <a:lumMod val="25000"/>
              <a:lumOff val="7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algn="ctr" defTabSz="533400">
              <a:spcBef>
                <a:spcPct val="0"/>
              </a:spcBef>
              <a:spcAft>
                <a:spcPts val="100"/>
              </a:spcAft>
            </a:pPr>
            <a:r>
              <a:rPr lang="en-GB" sz="1000" noProof="1">
                <a:latin typeface="Aptos Narrow" panose="020B0004020202020204" pitchFamily="34" charset="0"/>
              </a:rPr>
              <a:t>Boundary Specifications</a:t>
            </a:r>
          </a:p>
        </p:txBody>
      </p:sp>
      <p:sp>
        <p:nvSpPr>
          <p:cNvPr id="129" name="Flowchart: Process 128">
            <a:extLst>
              <a:ext uri="{FF2B5EF4-FFF2-40B4-BE49-F238E27FC236}">
                <a16:creationId xmlns:a16="http://schemas.microsoft.com/office/drawing/2014/main" id="{0E33C6BE-B8B8-69FB-6A51-C965946CC2BB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2094747" y="7489202"/>
            <a:ext cx="2268381" cy="504000"/>
          </a:xfrm>
          <a:prstGeom prst="flowChartProcess">
            <a:avLst/>
          </a:prstGeom>
          <a:solidFill>
            <a:schemeClr val="tx2">
              <a:lumMod val="25000"/>
              <a:lumOff val="7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algn="ctr" defTabSz="533400">
              <a:spcBef>
                <a:spcPct val="0"/>
              </a:spcBef>
              <a:spcAft>
                <a:spcPts val="100"/>
              </a:spcAft>
            </a:pPr>
            <a:r>
              <a:rPr lang="en-GB" sz="1000" noProof="1">
                <a:latin typeface="Aptos Narrow" panose="020B0004020202020204" pitchFamily="34" charset="0"/>
              </a:rPr>
              <a:t>Technology</a:t>
            </a:r>
          </a:p>
        </p:txBody>
      </p:sp>
      <p:sp>
        <p:nvSpPr>
          <p:cNvPr id="130" name="Flowchart: Process 129">
            <a:extLst>
              <a:ext uri="{FF2B5EF4-FFF2-40B4-BE49-F238E27FC236}">
                <a16:creationId xmlns:a16="http://schemas.microsoft.com/office/drawing/2014/main" id="{BB0C3918-F86E-A21C-CB2A-101666B2539A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3464686" y="5892552"/>
            <a:ext cx="1730474" cy="504000"/>
          </a:xfrm>
          <a:prstGeom prst="flowChartProcess">
            <a:avLst/>
          </a:prstGeom>
          <a:solidFill>
            <a:schemeClr val="tx2">
              <a:lumMod val="25000"/>
              <a:lumOff val="7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algn="ctr" defTabSz="533400">
              <a:spcBef>
                <a:spcPct val="0"/>
              </a:spcBef>
              <a:spcAft>
                <a:spcPts val="100"/>
              </a:spcAft>
            </a:pPr>
            <a:r>
              <a:rPr lang="en-GB" sz="1000" noProof="1">
                <a:latin typeface="Aptos Narrow" panose="020B0004020202020204" pitchFamily="34" charset="0"/>
              </a:rPr>
              <a:t>Geography</a:t>
            </a:r>
          </a:p>
        </p:txBody>
      </p:sp>
      <p:sp>
        <p:nvSpPr>
          <p:cNvPr id="131" name="Flowchart: Process 130">
            <a:extLst>
              <a:ext uri="{FF2B5EF4-FFF2-40B4-BE49-F238E27FC236}">
                <a16:creationId xmlns:a16="http://schemas.microsoft.com/office/drawing/2014/main" id="{1E99F799-2114-77BF-FFA3-C68CA89030BD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497984" y="5892552"/>
            <a:ext cx="1259328" cy="504000"/>
          </a:xfrm>
          <a:prstGeom prst="flowChartProcess">
            <a:avLst/>
          </a:prstGeom>
          <a:solidFill>
            <a:schemeClr val="tx2">
              <a:lumMod val="25000"/>
              <a:lumOff val="7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algn="ctr" defTabSz="533400">
              <a:spcBef>
                <a:spcPct val="0"/>
              </a:spcBef>
              <a:spcAft>
                <a:spcPts val="100"/>
              </a:spcAft>
            </a:pPr>
            <a:r>
              <a:rPr lang="en-GB" sz="1000" noProof="1">
                <a:latin typeface="Aptos Narrow" panose="020B0004020202020204" pitchFamily="34" charset="0"/>
              </a:rPr>
              <a:t>Time</a:t>
            </a:r>
          </a:p>
        </p:txBody>
      </p:sp>
      <p:sp>
        <p:nvSpPr>
          <p:cNvPr id="132" name="Flowchart: Process 131">
            <a:extLst>
              <a:ext uri="{FF2B5EF4-FFF2-40B4-BE49-F238E27FC236}">
                <a16:creationId xmlns:a16="http://schemas.microsoft.com/office/drawing/2014/main" id="{E2665C37-ACA9-0333-F5D5-5346D5D85175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7013389" y="7146531"/>
            <a:ext cx="1779029" cy="512075"/>
          </a:xfrm>
          <a:prstGeom prst="flowChartProcess">
            <a:avLst/>
          </a:prstGeom>
          <a:solidFill>
            <a:schemeClr val="tx2">
              <a:lumMod val="50000"/>
              <a:lumOff val="5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algn="ctr" defTabSz="533400">
              <a:spcBef>
                <a:spcPct val="0"/>
              </a:spcBef>
              <a:spcAft>
                <a:spcPts val="100"/>
              </a:spcAft>
            </a:pPr>
            <a:r>
              <a:rPr lang="en-GB" sz="1000" noProof="1">
                <a:latin typeface="Aptos Narrow" panose="020B0004020202020204" pitchFamily="34" charset="0"/>
              </a:rPr>
              <a:t>PCF Methodology</a:t>
            </a:r>
          </a:p>
        </p:txBody>
      </p:sp>
      <p:sp>
        <p:nvSpPr>
          <p:cNvPr id="133" name="Flowchart: Process 132">
            <a:extLst>
              <a:ext uri="{FF2B5EF4-FFF2-40B4-BE49-F238E27FC236}">
                <a16:creationId xmlns:a16="http://schemas.microsoft.com/office/drawing/2014/main" id="{546B889A-C161-A418-D344-73F5CAF899D0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6987989" y="8073809"/>
            <a:ext cx="1817883" cy="504000"/>
          </a:xfrm>
          <a:prstGeom prst="flowChartProcess">
            <a:avLst/>
          </a:prstGeom>
          <a:solidFill>
            <a:schemeClr val="tx2">
              <a:lumMod val="25000"/>
              <a:lumOff val="7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algn="ctr" defTabSz="533400">
              <a:spcBef>
                <a:spcPct val="0"/>
              </a:spcBef>
              <a:spcAft>
                <a:spcPts val="100"/>
              </a:spcAft>
            </a:pPr>
            <a:r>
              <a:rPr lang="en-GB" sz="1000" noProof="1">
                <a:latin typeface="Aptos Narrow" panose="020B0004020202020204" pitchFamily="34" charset="0"/>
              </a:rPr>
              <a:t>Standards</a:t>
            </a:r>
          </a:p>
        </p:txBody>
      </p:sp>
      <p:sp>
        <p:nvSpPr>
          <p:cNvPr id="134" name="Flowchart: Process 133">
            <a:extLst>
              <a:ext uri="{FF2B5EF4-FFF2-40B4-BE49-F238E27FC236}">
                <a16:creationId xmlns:a16="http://schemas.microsoft.com/office/drawing/2014/main" id="{96519D77-4836-7F9F-ADC6-8D9F4A4F8D9F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9400191" y="8073809"/>
            <a:ext cx="2190288" cy="504000"/>
          </a:xfrm>
          <a:prstGeom prst="flowChartProcess">
            <a:avLst/>
          </a:prstGeom>
          <a:solidFill>
            <a:schemeClr val="tx2">
              <a:lumMod val="25000"/>
              <a:lumOff val="7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algn="ctr" defTabSz="533400">
              <a:spcBef>
                <a:spcPct val="0"/>
              </a:spcBef>
              <a:spcAft>
                <a:spcPts val="100"/>
              </a:spcAft>
            </a:pPr>
            <a:r>
              <a:rPr lang="en-GB" sz="1000" noProof="1">
                <a:latin typeface="Aptos Narrow" panose="020B0004020202020204" pitchFamily="34" charset="0"/>
              </a:rPr>
              <a:t>GWP Characterization Factor Details</a:t>
            </a:r>
          </a:p>
        </p:txBody>
      </p:sp>
      <p:sp>
        <p:nvSpPr>
          <p:cNvPr id="135" name="Flowchart: Process 134">
            <a:extLst>
              <a:ext uri="{FF2B5EF4-FFF2-40B4-BE49-F238E27FC236}">
                <a16:creationId xmlns:a16="http://schemas.microsoft.com/office/drawing/2014/main" id="{4E6399C8-5829-F7E5-83D4-B99B8EF94805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1873957" y="8073809"/>
            <a:ext cx="2268381" cy="504000"/>
          </a:xfrm>
          <a:prstGeom prst="flowChartProcess">
            <a:avLst/>
          </a:prstGeom>
          <a:solidFill>
            <a:schemeClr val="tx2">
              <a:lumMod val="25000"/>
              <a:lumOff val="7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algn="ctr" defTabSz="533400">
              <a:spcBef>
                <a:spcPct val="0"/>
              </a:spcBef>
              <a:spcAft>
                <a:spcPts val="100"/>
              </a:spcAft>
            </a:pPr>
            <a:r>
              <a:rPr lang="en-GB" sz="1000" noProof="1">
                <a:latin typeface="Aptos Narrow" panose="020B0004020202020204" pitchFamily="34" charset="0"/>
              </a:rPr>
              <a:t>Allocation in Foreground (Own Processes)</a:t>
            </a:r>
          </a:p>
        </p:txBody>
      </p:sp>
      <p:sp>
        <p:nvSpPr>
          <p:cNvPr id="136" name="Flowchart: Process 135">
            <a:extLst>
              <a:ext uri="{FF2B5EF4-FFF2-40B4-BE49-F238E27FC236}">
                <a16:creationId xmlns:a16="http://schemas.microsoft.com/office/drawing/2014/main" id="{E50E898D-7BAA-7B32-31BD-89E5A221EFB9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4425816" y="8073809"/>
            <a:ext cx="1982584" cy="504000"/>
          </a:xfrm>
          <a:prstGeom prst="flowChartProcess">
            <a:avLst/>
          </a:prstGeom>
          <a:solidFill>
            <a:schemeClr val="tx2">
              <a:lumMod val="25000"/>
              <a:lumOff val="7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algn="ctr" defTabSz="533400">
              <a:spcBef>
                <a:spcPct val="0"/>
              </a:spcBef>
              <a:spcAft>
                <a:spcPts val="100"/>
              </a:spcAft>
            </a:pPr>
            <a:r>
              <a:rPr lang="en-GB" sz="1000" noProof="1">
                <a:latin typeface="Aptos Narrow" panose="020B0004020202020204" pitchFamily="34" charset="0"/>
              </a:rPr>
              <a:t>Mass balancing Information</a:t>
            </a:r>
          </a:p>
        </p:txBody>
      </p:sp>
      <p:sp>
        <p:nvSpPr>
          <p:cNvPr id="137" name="Flowchart: Process 136">
            <a:extLst>
              <a:ext uri="{FF2B5EF4-FFF2-40B4-BE49-F238E27FC236}">
                <a16:creationId xmlns:a16="http://schemas.microsoft.com/office/drawing/2014/main" id="{85D3D327-5013-BB4C-DE7A-03EDD9BD1DDF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5683802" y="2518786"/>
            <a:ext cx="1967031" cy="512075"/>
          </a:xfrm>
          <a:prstGeom prst="flowChartProcess">
            <a:avLst/>
          </a:prstGeom>
          <a:solidFill>
            <a:schemeClr val="tx2">
              <a:lumMod val="50000"/>
              <a:lumOff val="5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algn="ctr" defTabSz="533400">
              <a:spcBef>
                <a:spcPct val="0"/>
              </a:spcBef>
              <a:spcAft>
                <a:spcPts val="100"/>
              </a:spcAft>
            </a:pPr>
            <a:r>
              <a:rPr lang="en-GB" sz="1000" noProof="1">
                <a:latin typeface="Aptos Narrow" panose="020B0004020202020204" pitchFamily="34" charset="0"/>
              </a:rPr>
              <a:t>Data Sources and Quality</a:t>
            </a:r>
          </a:p>
        </p:txBody>
      </p:sp>
      <p:sp>
        <p:nvSpPr>
          <p:cNvPr id="138" name="Flowchart: Process 137">
            <a:extLst>
              <a:ext uri="{FF2B5EF4-FFF2-40B4-BE49-F238E27FC236}">
                <a16:creationId xmlns:a16="http://schemas.microsoft.com/office/drawing/2014/main" id="{0CDABB42-8797-2D8A-BE0C-D98A537D3AFB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7772399" y="2518786"/>
            <a:ext cx="2040037" cy="512075"/>
          </a:xfrm>
          <a:prstGeom prst="flowChartProcess">
            <a:avLst/>
          </a:prstGeom>
          <a:solidFill>
            <a:schemeClr val="tx2">
              <a:lumMod val="50000"/>
              <a:lumOff val="5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algn="ctr" defTabSz="533400">
              <a:spcBef>
                <a:spcPct val="0"/>
              </a:spcBef>
              <a:spcAft>
                <a:spcPts val="100"/>
              </a:spcAft>
            </a:pPr>
            <a:r>
              <a:rPr lang="en-GB" sz="1000" noProof="1">
                <a:latin typeface="Aptos Narrow" panose="020B0004020202020204" pitchFamily="34" charset="0"/>
              </a:rPr>
              <a:t>Verification and Ceritification Shares</a:t>
            </a:r>
          </a:p>
        </p:txBody>
      </p:sp>
      <p:sp>
        <p:nvSpPr>
          <p:cNvPr id="139" name="Flowchart: Process 138">
            <a:extLst>
              <a:ext uri="{FF2B5EF4-FFF2-40B4-BE49-F238E27FC236}">
                <a16:creationId xmlns:a16="http://schemas.microsoft.com/office/drawing/2014/main" id="{4DB553CC-4431-89DA-0CCD-C3D082711BF4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1717502" y="1095923"/>
            <a:ext cx="1062813" cy="494002"/>
          </a:xfrm>
          <a:prstGeom prst="flowChartProcess">
            <a:avLst/>
          </a:prstGeom>
          <a:solidFill>
            <a:schemeClr val="tx2">
              <a:lumMod val="75000"/>
              <a:lumOff val="2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algn="ctr" defTabSz="533400">
              <a:spcBef>
                <a:spcPct val="0"/>
              </a:spcBef>
              <a:spcAft>
                <a:spcPts val="100"/>
              </a:spcAft>
            </a:pPr>
            <a:r>
              <a:rPr lang="en-GB" sz="1000" noProof="1">
                <a:latin typeface="Aptos Narrow" panose="020B0004020202020204" pitchFamily="34" charset="0"/>
              </a:rPr>
              <a:t>General</a:t>
            </a:r>
          </a:p>
        </p:txBody>
      </p:sp>
      <p:sp>
        <p:nvSpPr>
          <p:cNvPr id="140" name="Flowchart: Process 139">
            <a:extLst>
              <a:ext uri="{FF2B5EF4-FFF2-40B4-BE49-F238E27FC236}">
                <a16:creationId xmlns:a16="http://schemas.microsoft.com/office/drawing/2014/main" id="{1CB61955-49F0-6C22-1317-62C1ADDD87FD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10243820" y="3341894"/>
            <a:ext cx="2479115" cy="512075"/>
          </a:xfrm>
          <a:prstGeom prst="flowChartProcess">
            <a:avLst/>
          </a:prstGeom>
          <a:solidFill>
            <a:schemeClr val="tx2">
              <a:lumMod val="75000"/>
              <a:lumOff val="2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algn="ctr" defTabSz="533400">
              <a:spcBef>
                <a:spcPct val="0"/>
              </a:spcBef>
              <a:spcAft>
                <a:spcPts val="100"/>
              </a:spcAft>
            </a:pPr>
            <a:r>
              <a:rPr lang="en-GB" sz="1000" noProof="1">
                <a:latin typeface="Aptos Narrow" panose="020B0004020202020204" pitchFamily="34" charset="0"/>
              </a:rPr>
              <a:t>Product Life Cycle Stages and Emissions</a:t>
            </a:r>
          </a:p>
        </p:txBody>
      </p:sp>
      <p:sp>
        <p:nvSpPr>
          <p:cNvPr id="141" name="Flowchart: Process 140">
            <a:extLst>
              <a:ext uri="{FF2B5EF4-FFF2-40B4-BE49-F238E27FC236}">
                <a16:creationId xmlns:a16="http://schemas.microsoft.com/office/drawing/2014/main" id="{E91B681D-8AAD-CA06-060B-A73EBE4B51C7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8639446" y="4725412"/>
            <a:ext cx="2206799" cy="464095"/>
          </a:xfrm>
          <a:prstGeom prst="flowChartProcess">
            <a:avLst/>
          </a:prstGeom>
          <a:solidFill>
            <a:schemeClr val="tx2">
              <a:lumMod val="50000"/>
              <a:lumOff val="5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algn="ctr" defTabSz="533400">
              <a:spcBef>
                <a:spcPct val="0"/>
              </a:spcBef>
              <a:spcAft>
                <a:spcPts val="100"/>
              </a:spcAft>
            </a:pPr>
            <a:r>
              <a:rPr lang="en-GB" sz="1000" noProof="1">
                <a:latin typeface="Aptos Narrow" panose="020B0004020202020204" pitchFamily="34" charset="0"/>
              </a:rPr>
              <a:t>Production Stage </a:t>
            </a:r>
          </a:p>
        </p:txBody>
      </p:sp>
      <p:sp>
        <p:nvSpPr>
          <p:cNvPr id="142" name="Flowchart: Process 141">
            <a:extLst>
              <a:ext uri="{FF2B5EF4-FFF2-40B4-BE49-F238E27FC236}">
                <a16:creationId xmlns:a16="http://schemas.microsoft.com/office/drawing/2014/main" id="{B7A57633-51A1-DC07-05D5-C9ACF36D1046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0988904" y="4725412"/>
            <a:ext cx="2693276" cy="472779"/>
          </a:xfrm>
          <a:prstGeom prst="flowChartProcess">
            <a:avLst/>
          </a:prstGeom>
          <a:solidFill>
            <a:schemeClr val="tx2">
              <a:lumMod val="50000"/>
              <a:lumOff val="5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algn="ctr" defTabSz="533400">
              <a:spcBef>
                <a:spcPct val="0"/>
              </a:spcBef>
              <a:spcAft>
                <a:spcPts val="100"/>
              </a:spcAft>
            </a:pPr>
            <a:r>
              <a:rPr lang="en-GB" sz="1000" noProof="1">
                <a:latin typeface="Aptos Narrow" panose="020B0004020202020204" pitchFamily="34" charset="0"/>
              </a:rPr>
              <a:t>Packaging Stage</a:t>
            </a:r>
          </a:p>
        </p:txBody>
      </p:sp>
      <p:sp>
        <p:nvSpPr>
          <p:cNvPr id="143" name="Flowchart: Process 142">
            <a:extLst>
              <a:ext uri="{FF2B5EF4-FFF2-40B4-BE49-F238E27FC236}">
                <a16:creationId xmlns:a16="http://schemas.microsoft.com/office/drawing/2014/main" id="{73B18AAB-4D64-E1EE-958B-DF3BE7BAE117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13824834" y="4725412"/>
            <a:ext cx="3152417" cy="494001"/>
          </a:xfrm>
          <a:prstGeom prst="flowChartProcess">
            <a:avLst/>
          </a:prstGeom>
          <a:solidFill>
            <a:schemeClr val="tx2">
              <a:lumMod val="50000"/>
              <a:lumOff val="5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algn="ctr" defTabSz="533400">
              <a:spcBef>
                <a:spcPct val="0"/>
              </a:spcBef>
              <a:spcAft>
                <a:spcPts val="100"/>
              </a:spcAft>
            </a:pPr>
            <a:r>
              <a:rPr lang="en-GB" sz="1000" noProof="1">
                <a:latin typeface="Aptos Narrow" panose="020B0004020202020204" pitchFamily="34" charset="0"/>
              </a:rPr>
              <a:t>Distribution Stage</a:t>
            </a:r>
          </a:p>
        </p:txBody>
      </p:sp>
      <p:sp>
        <p:nvSpPr>
          <p:cNvPr id="144" name="Flowchart: Process 143">
            <a:extLst>
              <a:ext uri="{FF2B5EF4-FFF2-40B4-BE49-F238E27FC236}">
                <a16:creationId xmlns:a16="http://schemas.microsoft.com/office/drawing/2014/main" id="{EADDB693-C8CF-11F1-BDE9-6AD54A4250C3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13028716" y="1095923"/>
            <a:ext cx="1875128" cy="494002"/>
          </a:xfrm>
          <a:prstGeom prst="flowChartProcess">
            <a:avLst/>
          </a:prstGeom>
          <a:solidFill>
            <a:schemeClr val="tx2">
              <a:lumMod val="75000"/>
              <a:lumOff val="2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algn="ctr" defTabSz="533400">
              <a:spcBef>
                <a:spcPct val="0"/>
              </a:spcBef>
              <a:spcAft>
                <a:spcPts val="100"/>
              </a:spcAft>
            </a:pPr>
            <a:r>
              <a:rPr lang="en-GB" sz="1000" noProof="1">
                <a:latin typeface="Aptos Narrow" panose="020B0004020202020204" pitchFamily="34" charset="0"/>
              </a:rPr>
              <a:t>Carbon Content</a:t>
            </a:r>
          </a:p>
        </p:txBody>
      </p:sp>
      <p:sp>
        <p:nvSpPr>
          <p:cNvPr id="145" name="Flowchart: Process 144">
            <a:extLst>
              <a:ext uri="{FF2B5EF4-FFF2-40B4-BE49-F238E27FC236}">
                <a16:creationId xmlns:a16="http://schemas.microsoft.com/office/drawing/2014/main" id="{006D698A-7429-5B10-26CE-F51E44F359B5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15143325" y="1095923"/>
            <a:ext cx="1689610" cy="494002"/>
          </a:xfrm>
          <a:prstGeom prst="flowChartProcess">
            <a:avLst/>
          </a:prstGeom>
          <a:solidFill>
            <a:schemeClr val="tx2">
              <a:lumMod val="75000"/>
              <a:lumOff val="2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algn="ctr" defTabSz="533400">
              <a:spcBef>
                <a:spcPct val="0"/>
              </a:spcBef>
              <a:spcAft>
                <a:spcPts val="100"/>
              </a:spcAft>
            </a:pPr>
            <a:r>
              <a:rPr lang="en-GB" sz="1000" noProof="1">
                <a:latin typeface="Aptos Narrow" panose="020B0004020202020204" pitchFamily="34" charset="0"/>
              </a:rPr>
              <a:t>Attestation of Conformance</a:t>
            </a:r>
          </a:p>
        </p:txBody>
      </p:sp>
      <p:cxnSp>
        <p:nvCxnSpPr>
          <p:cNvPr id="149" name="Connector: Elbow 148">
            <a:extLst>
              <a:ext uri="{FF2B5EF4-FFF2-40B4-BE49-F238E27FC236}">
                <a16:creationId xmlns:a16="http://schemas.microsoft.com/office/drawing/2014/main" id="{8CC441E7-C053-01D6-5247-66B9DEBF140D}"/>
              </a:ext>
            </a:extLst>
          </p:cNvPr>
          <p:cNvCxnSpPr>
            <a:cxnSpLocks/>
            <a:stCxn id="120" idx="2"/>
            <a:endCxn id="121" idx="0"/>
          </p:cNvCxnSpPr>
          <p:nvPr/>
        </p:nvCxnSpPr>
        <p:spPr>
          <a:xfrm rot="5400000">
            <a:off x="4123212" y="-2590936"/>
            <a:ext cx="455136" cy="6918583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7" name="Connector: Elbow 156">
            <a:extLst>
              <a:ext uri="{FF2B5EF4-FFF2-40B4-BE49-F238E27FC236}">
                <a16:creationId xmlns:a16="http://schemas.microsoft.com/office/drawing/2014/main" id="{5BA8DBAD-A5F8-3B84-0AF8-47D7E2FDD218}"/>
              </a:ext>
            </a:extLst>
          </p:cNvPr>
          <p:cNvCxnSpPr>
            <a:cxnSpLocks/>
            <a:stCxn id="120" idx="2"/>
            <a:endCxn id="122" idx="0"/>
          </p:cNvCxnSpPr>
          <p:nvPr/>
        </p:nvCxnSpPr>
        <p:spPr>
          <a:xfrm rot="5400000">
            <a:off x="5157566" y="-1556582"/>
            <a:ext cx="455136" cy="4849874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9" name="Connector: Elbow 158">
            <a:extLst>
              <a:ext uri="{FF2B5EF4-FFF2-40B4-BE49-F238E27FC236}">
                <a16:creationId xmlns:a16="http://schemas.microsoft.com/office/drawing/2014/main" id="{3BFA5722-F7F8-0282-A175-6B8C78F8C234}"/>
              </a:ext>
            </a:extLst>
          </p:cNvPr>
          <p:cNvCxnSpPr>
            <a:cxnSpLocks/>
            <a:stCxn id="120" idx="2"/>
            <a:endCxn id="125" idx="0"/>
          </p:cNvCxnSpPr>
          <p:nvPr/>
        </p:nvCxnSpPr>
        <p:spPr>
          <a:xfrm rot="5400000">
            <a:off x="6343028" y="-371120"/>
            <a:ext cx="455136" cy="2478951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1" name="Connector: Elbow 160">
            <a:extLst>
              <a:ext uri="{FF2B5EF4-FFF2-40B4-BE49-F238E27FC236}">
                <a16:creationId xmlns:a16="http://schemas.microsoft.com/office/drawing/2014/main" id="{9FB855F8-9951-DB4C-5842-2F9A71D4697E}"/>
              </a:ext>
            </a:extLst>
          </p:cNvPr>
          <p:cNvCxnSpPr>
            <a:cxnSpLocks/>
            <a:stCxn id="120" idx="2"/>
            <a:endCxn id="139" idx="0"/>
          </p:cNvCxnSpPr>
          <p:nvPr/>
        </p:nvCxnSpPr>
        <p:spPr>
          <a:xfrm rot="16200000" flipH="1">
            <a:off x="9801922" y="-1351064"/>
            <a:ext cx="455136" cy="4438838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3" name="Connector: Elbow 162">
            <a:extLst>
              <a:ext uri="{FF2B5EF4-FFF2-40B4-BE49-F238E27FC236}">
                <a16:creationId xmlns:a16="http://schemas.microsoft.com/office/drawing/2014/main" id="{EFA36E18-1D8F-2502-2B58-0B8CB3830118}"/>
              </a:ext>
            </a:extLst>
          </p:cNvPr>
          <p:cNvCxnSpPr>
            <a:cxnSpLocks/>
            <a:stCxn id="120" idx="2"/>
            <a:endCxn id="140" idx="0"/>
          </p:cNvCxnSpPr>
          <p:nvPr/>
        </p:nvCxnSpPr>
        <p:spPr>
          <a:xfrm rot="16200000" flipH="1">
            <a:off x="8296171" y="154686"/>
            <a:ext cx="2701107" cy="3673307"/>
          </a:xfrm>
          <a:prstGeom prst="bentConnector3">
            <a:avLst>
              <a:gd name="adj1" fmla="val 8624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5" name="Connector: Elbow 164">
            <a:extLst>
              <a:ext uri="{FF2B5EF4-FFF2-40B4-BE49-F238E27FC236}">
                <a16:creationId xmlns:a16="http://schemas.microsoft.com/office/drawing/2014/main" id="{AAA648D9-30C4-4AA2-CA62-E9D9A03A2032}"/>
              </a:ext>
            </a:extLst>
          </p:cNvPr>
          <p:cNvCxnSpPr>
            <a:cxnSpLocks/>
            <a:stCxn id="120" idx="2"/>
            <a:endCxn id="144" idx="0"/>
          </p:cNvCxnSpPr>
          <p:nvPr/>
        </p:nvCxnSpPr>
        <p:spPr>
          <a:xfrm rot="16200000" flipH="1">
            <a:off x="10660607" y="-2209750"/>
            <a:ext cx="455136" cy="6156209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7" name="Connector: Elbow 166">
            <a:extLst>
              <a:ext uri="{FF2B5EF4-FFF2-40B4-BE49-F238E27FC236}">
                <a16:creationId xmlns:a16="http://schemas.microsoft.com/office/drawing/2014/main" id="{434BEDEE-2062-CC6A-03D1-F267E64980CA}"/>
              </a:ext>
            </a:extLst>
          </p:cNvPr>
          <p:cNvCxnSpPr>
            <a:cxnSpLocks/>
            <a:stCxn id="120" idx="2"/>
            <a:endCxn id="145" idx="0"/>
          </p:cNvCxnSpPr>
          <p:nvPr/>
        </p:nvCxnSpPr>
        <p:spPr>
          <a:xfrm rot="16200000" flipH="1">
            <a:off x="11671532" y="-3220675"/>
            <a:ext cx="455136" cy="8178059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9" name="Connector: Elbow 168">
            <a:extLst>
              <a:ext uri="{FF2B5EF4-FFF2-40B4-BE49-F238E27FC236}">
                <a16:creationId xmlns:a16="http://schemas.microsoft.com/office/drawing/2014/main" id="{D89C2267-CBFA-3762-C5B1-CE4E09476F00}"/>
              </a:ext>
            </a:extLst>
          </p:cNvPr>
          <p:cNvCxnSpPr>
            <a:cxnSpLocks/>
            <a:stCxn id="122" idx="2"/>
            <a:endCxn id="123" idx="0"/>
          </p:cNvCxnSpPr>
          <p:nvPr/>
        </p:nvCxnSpPr>
        <p:spPr>
          <a:xfrm rot="5400000">
            <a:off x="1890054" y="1448643"/>
            <a:ext cx="910788" cy="1229498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1" name="Connector: Elbow 170">
            <a:extLst>
              <a:ext uri="{FF2B5EF4-FFF2-40B4-BE49-F238E27FC236}">
                <a16:creationId xmlns:a16="http://schemas.microsoft.com/office/drawing/2014/main" id="{3F08406E-5E98-7B99-7D48-0DBCA6BAF035}"/>
              </a:ext>
            </a:extLst>
          </p:cNvPr>
          <p:cNvCxnSpPr>
            <a:cxnSpLocks/>
            <a:stCxn id="122" idx="2"/>
            <a:endCxn id="124" idx="0"/>
          </p:cNvCxnSpPr>
          <p:nvPr/>
        </p:nvCxnSpPr>
        <p:spPr>
          <a:xfrm rot="16200000" flipH="1">
            <a:off x="2772780" y="1795414"/>
            <a:ext cx="910788" cy="535955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6" name="Connector: Elbow 175">
            <a:extLst>
              <a:ext uri="{FF2B5EF4-FFF2-40B4-BE49-F238E27FC236}">
                <a16:creationId xmlns:a16="http://schemas.microsoft.com/office/drawing/2014/main" id="{593C9628-4A98-424C-8461-8EAC1F855F39}"/>
              </a:ext>
            </a:extLst>
          </p:cNvPr>
          <p:cNvCxnSpPr>
            <a:cxnSpLocks/>
            <a:stCxn id="125" idx="2"/>
            <a:endCxn id="126" idx="0"/>
          </p:cNvCxnSpPr>
          <p:nvPr/>
        </p:nvCxnSpPr>
        <p:spPr>
          <a:xfrm rot="5400000">
            <a:off x="3769350" y="3163642"/>
            <a:ext cx="3117414" cy="6126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8" name="Connector: Elbow 177">
            <a:extLst>
              <a:ext uri="{FF2B5EF4-FFF2-40B4-BE49-F238E27FC236}">
                <a16:creationId xmlns:a16="http://schemas.microsoft.com/office/drawing/2014/main" id="{D1007209-BE4F-2550-1CA8-E8EE23BC5843}"/>
              </a:ext>
            </a:extLst>
          </p:cNvPr>
          <p:cNvCxnSpPr>
            <a:cxnSpLocks/>
            <a:stCxn id="125" idx="2"/>
            <a:endCxn id="132" idx="0"/>
          </p:cNvCxnSpPr>
          <p:nvPr/>
        </p:nvCxnSpPr>
        <p:spPr>
          <a:xfrm rot="16200000" flipH="1">
            <a:off x="3847746" y="3091372"/>
            <a:ext cx="5538533" cy="257178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0" name="Connector: Elbow 179">
            <a:extLst>
              <a:ext uri="{FF2B5EF4-FFF2-40B4-BE49-F238E27FC236}">
                <a16:creationId xmlns:a16="http://schemas.microsoft.com/office/drawing/2014/main" id="{9B08E709-4F9B-9D19-3BA3-6B6C745B3881}"/>
              </a:ext>
            </a:extLst>
          </p:cNvPr>
          <p:cNvCxnSpPr>
            <a:cxnSpLocks/>
            <a:stCxn id="125" idx="2"/>
            <a:endCxn id="137" idx="0"/>
          </p:cNvCxnSpPr>
          <p:nvPr/>
        </p:nvCxnSpPr>
        <p:spPr>
          <a:xfrm rot="16200000" flipH="1">
            <a:off x="5543825" y="1395293"/>
            <a:ext cx="910788" cy="1336198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2" name="Connector: Elbow 181">
            <a:extLst>
              <a:ext uri="{FF2B5EF4-FFF2-40B4-BE49-F238E27FC236}">
                <a16:creationId xmlns:a16="http://schemas.microsoft.com/office/drawing/2014/main" id="{822E4591-10F4-0BA9-1207-0C4F6B1C995E}"/>
              </a:ext>
            </a:extLst>
          </p:cNvPr>
          <p:cNvCxnSpPr>
            <a:cxnSpLocks/>
            <a:stCxn id="125" idx="2"/>
            <a:endCxn id="138" idx="0"/>
          </p:cNvCxnSpPr>
          <p:nvPr/>
        </p:nvCxnSpPr>
        <p:spPr>
          <a:xfrm rot="16200000" flipH="1">
            <a:off x="6606375" y="332743"/>
            <a:ext cx="910788" cy="3461298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3" name="Connector: Elbow 192">
            <a:extLst>
              <a:ext uri="{FF2B5EF4-FFF2-40B4-BE49-F238E27FC236}">
                <a16:creationId xmlns:a16="http://schemas.microsoft.com/office/drawing/2014/main" id="{61B14C81-7748-8E7D-1904-4D32A5AEA459}"/>
              </a:ext>
            </a:extLst>
          </p:cNvPr>
          <p:cNvCxnSpPr>
            <a:cxnSpLocks/>
            <a:stCxn id="140" idx="2"/>
            <a:endCxn id="141" idx="0"/>
          </p:cNvCxnSpPr>
          <p:nvPr/>
        </p:nvCxnSpPr>
        <p:spPr>
          <a:xfrm rot="5400000">
            <a:off x="10177391" y="3419424"/>
            <a:ext cx="871443" cy="1740532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4" name="Connector: Elbow 203">
            <a:extLst>
              <a:ext uri="{FF2B5EF4-FFF2-40B4-BE49-F238E27FC236}">
                <a16:creationId xmlns:a16="http://schemas.microsoft.com/office/drawing/2014/main" id="{02107815-0F37-5360-7BF3-7C77C2CC759F}"/>
              </a:ext>
            </a:extLst>
          </p:cNvPr>
          <p:cNvCxnSpPr>
            <a:cxnSpLocks/>
            <a:stCxn id="140" idx="2"/>
            <a:endCxn id="142" idx="0"/>
          </p:cNvCxnSpPr>
          <p:nvPr/>
        </p:nvCxnSpPr>
        <p:spPr>
          <a:xfrm rot="16200000" flipH="1">
            <a:off x="11473739" y="3863608"/>
            <a:ext cx="871443" cy="852164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6" name="Connector: Elbow 205">
            <a:extLst>
              <a:ext uri="{FF2B5EF4-FFF2-40B4-BE49-F238E27FC236}">
                <a16:creationId xmlns:a16="http://schemas.microsoft.com/office/drawing/2014/main" id="{E4A6088E-CBAE-9B1D-502F-4982946254A5}"/>
              </a:ext>
            </a:extLst>
          </p:cNvPr>
          <p:cNvCxnSpPr>
            <a:cxnSpLocks/>
            <a:stCxn id="140" idx="2"/>
            <a:endCxn id="143" idx="0"/>
          </p:cNvCxnSpPr>
          <p:nvPr/>
        </p:nvCxnSpPr>
        <p:spPr>
          <a:xfrm rot="16200000" flipH="1">
            <a:off x="13006489" y="2330857"/>
            <a:ext cx="871443" cy="3917665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5" name="Connector: Elbow 214">
            <a:extLst>
              <a:ext uri="{FF2B5EF4-FFF2-40B4-BE49-F238E27FC236}">
                <a16:creationId xmlns:a16="http://schemas.microsoft.com/office/drawing/2014/main" id="{2C8A41A3-48EC-5EFC-0302-0EA9E332599B}"/>
              </a:ext>
            </a:extLst>
          </p:cNvPr>
          <p:cNvCxnSpPr>
            <a:cxnSpLocks/>
            <a:stCxn id="126" idx="2"/>
            <a:endCxn id="127" idx="0"/>
          </p:cNvCxnSpPr>
          <p:nvPr/>
        </p:nvCxnSpPr>
        <p:spPr>
          <a:xfrm rot="5400000">
            <a:off x="2046550" y="4210757"/>
            <a:ext cx="2251715" cy="4305174"/>
          </a:xfrm>
          <a:prstGeom prst="bentConnector3">
            <a:avLst>
              <a:gd name="adj1" fmla="val 14468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7" name="Connector: Elbow 216">
            <a:extLst>
              <a:ext uri="{FF2B5EF4-FFF2-40B4-BE49-F238E27FC236}">
                <a16:creationId xmlns:a16="http://schemas.microsoft.com/office/drawing/2014/main" id="{DCFF4D58-E68B-4F4D-A2B5-03A352D5482C}"/>
              </a:ext>
            </a:extLst>
          </p:cNvPr>
          <p:cNvCxnSpPr>
            <a:cxnSpLocks/>
            <a:stCxn id="126" idx="2"/>
            <a:endCxn id="128" idx="0"/>
          </p:cNvCxnSpPr>
          <p:nvPr/>
        </p:nvCxnSpPr>
        <p:spPr>
          <a:xfrm rot="5400000">
            <a:off x="3402976" y="3970533"/>
            <a:ext cx="655065" cy="3188973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9" name="Connector: Elbow 218">
            <a:extLst>
              <a:ext uri="{FF2B5EF4-FFF2-40B4-BE49-F238E27FC236}">
                <a16:creationId xmlns:a16="http://schemas.microsoft.com/office/drawing/2014/main" id="{985BB841-C5C4-9B6E-191B-A8C0706879F7}"/>
              </a:ext>
            </a:extLst>
          </p:cNvPr>
          <p:cNvCxnSpPr>
            <a:cxnSpLocks/>
            <a:stCxn id="126" idx="2"/>
            <a:endCxn id="129" idx="0"/>
          </p:cNvCxnSpPr>
          <p:nvPr/>
        </p:nvCxnSpPr>
        <p:spPr>
          <a:xfrm rot="5400000">
            <a:off x="3151109" y="5315316"/>
            <a:ext cx="2251715" cy="2096056"/>
          </a:xfrm>
          <a:prstGeom prst="bentConnector3">
            <a:avLst>
              <a:gd name="adj1" fmla="val 14467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1" name="Connector: Elbow 220">
            <a:extLst>
              <a:ext uri="{FF2B5EF4-FFF2-40B4-BE49-F238E27FC236}">
                <a16:creationId xmlns:a16="http://schemas.microsoft.com/office/drawing/2014/main" id="{00E7515D-BBB5-F95C-6B36-E3921F141455}"/>
              </a:ext>
            </a:extLst>
          </p:cNvPr>
          <p:cNvCxnSpPr>
            <a:cxnSpLocks/>
            <a:stCxn id="126" idx="2"/>
            <a:endCxn id="130" idx="0"/>
          </p:cNvCxnSpPr>
          <p:nvPr/>
        </p:nvCxnSpPr>
        <p:spPr>
          <a:xfrm rot="5400000">
            <a:off x="4499927" y="5067484"/>
            <a:ext cx="655065" cy="995071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3" name="Connector: Elbow 222">
            <a:extLst>
              <a:ext uri="{FF2B5EF4-FFF2-40B4-BE49-F238E27FC236}">
                <a16:creationId xmlns:a16="http://schemas.microsoft.com/office/drawing/2014/main" id="{E35FEC1E-7B41-0745-EB76-A3D55BCA1C63}"/>
              </a:ext>
            </a:extLst>
          </p:cNvPr>
          <p:cNvCxnSpPr>
            <a:cxnSpLocks/>
            <a:stCxn id="126" idx="2"/>
            <a:endCxn id="131" idx="0"/>
          </p:cNvCxnSpPr>
          <p:nvPr/>
        </p:nvCxnSpPr>
        <p:spPr>
          <a:xfrm rot="16200000" flipH="1">
            <a:off x="5398789" y="5163692"/>
            <a:ext cx="655065" cy="80265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5" name="Connector: Elbow 224">
            <a:extLst>
              <a:ext uri="{FF2B5EF4-FFF2-40B4-BE49-F238E27FC236}">
                <a16:creationId xmlns:a16="http://schemas.microsoft.com/office/drawing/2014/main" id="{3C36973D-0A43-853E-C8F0-729A2C2AAECE}"/>
              </a:ext>
            </a:extLst>
          </p:cNvPr>
          <p:cNvCxnSpPr>
            <a:cxnSpLocks/>
            <a:stCxn id="132" idx="2"/>
            <a:endCxn id="133" idx="0"/>
          </p:cNvCxnSpPr>
          <p:nvPr/>
        </p:nvCxnSpPr>
        <p:spPr>
          <a:xfrm rot="5400000">
            <a:off x="7692317" y="7863221"/>
            <a:ext cx="415203" cy="5973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7" name="Connector: Elbow 226">
            <a:extLst>
              <a:ext uri="{FF2B5EF4-FFF2-40B4-BE49-F238E27FC236}">
                <a16:creationId xmlns:a16="http://schemas.microsoft.com/office/drawing/2014/main" id="{A2FE37A2-65D5-21D8-09C5-AA4C7193B26B}"/>
              </a:ext>
            </a:extLst>
          </p:cNvPr>
          <p:cNvCxnSpPr>
            <a:cxnSpLocks/>
            <a:stCxn id="132" idx="2"/>
            <a:endCxn id="134" idx="0"/>
          </p:cNvCxnSpPr>
          <p:nvPr/>
        </p:nvCxnSpPr>
        <p:spPr>
          <a:xfrm rot="16200000" flipH="1">
            <a:off x="8991518" y="6569991"/>
            <a:ext cx="415203" cy="2592431"/>
          </a:xfrm>
          <a:prstGeom prst="bentConnector3">
            <a:avLst>
              <a:gd name="adj1" fmla="val 50001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1" name="Connector: Elbow 230">
            <a:extLst>
              <a:ext uri="{FF2B5EF4-FFF2-40B4-BE49-F238E27FC236}">
                <a16:creationId xmlns:a16="http://schemas.microsoft.com/office/drawing/2014/main" id="{8495836D-4EAF-E49C-5DB4-C25E256DDCF8}"/>
              </a:ext>
            </a:extLst>
          </p:cNvPr>
          <p:cNvCxnSpPr>
            <a:cxnSpLocks/>
            <a:stCxn id="132" idx="2"/>
            <a:endCxn id="135" idx="0"/>
          </p:cNvCxnSpPr>
          <p:nvPr/>
        </p:nvCxnSpPr>
        <p:spPr>
          <a:xfrm rot="16200000" flipH="1">
            <a:off x="10247925" y="5313585"/>
            <a:ext cx="415203" cy="510524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3" name="Connector: Elbow 232">
            <a:extLst>
              <a:ext uri="{FF2B5EF4-FFF2-40B4-BE49-F238E27FC236}">
                <a16:creationId xmlns:a16="http://schemas.microsoft.com/office/drawing/2014/main" id="{87D1BCA0-374A-B438-4F03-F8081251BF48}"/>
              </a:ext>
            </a:extLst>
          </p:cNvPr>
          <p:cNvCxnSpPr>
            <a:cxnSpLocks/>
            <a:stCxn id="132" idx="2"/>
            <a:endCxn id="136" idx="0"/>
          </p:cNvCxnSpPr>
          <p:nvPr/>
        </p:nvCxnSpPr>
        <p:spPr>
          <a:xfrm rot="16200000" flipH="1">
            <a:off x="11452405" y="4109105"/>
            <a:ext cx="415203" cy="7514204"/>
          </a:xfrm>
          <a:prstGeom prst="bentConnector3">
            <a:avLst>
              <a:gd name="adj1" fmla="val 50001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2" name="Flowchart: Process 251">
            <a:extLst>
              <a:ext uri="{FF2B5EF4-FFF2-40B4-BE49-F238E27FC236}">
                <a16:creationId xmlns:a16="http://schemas.microsoft.com/office/drawing/2014/main" id="{BDD4CCEA-CC8A-5667-404F-B288325BC8B0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267895" y="1839595"/>
            <a:ext cx="1258351" cy="380480"/>
          </a:xfrm>
          <a:prstGeom prst="flowChartProcess">
            <a:avLst/>
          </a:prstGeom>
          <a:solidFill>
            <a:schemeClr val="bg1"/>
          </a:solidFill>
          <a:ln w="19050"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spAutoFit/>
          </a:bodyPr>
          <a:lstStyle/>
          <a:p>
            <a:pPr defTabSz="533400">
              <a:spcBef>
                <a:spcPct val="0"/>
              </a:spcBef>
              <a:spcAft>
                <a:spcPts val="100"/>
              </a:spcAft>
            </a:pPr>
            <a:r>
              <a:rPr lang="en-GB" sz="1000" b="1" noProof="1">
                <a:solidFill>
                  <a:schemeClr val="tx1"/>
                </a:solidFill>
                <a:latin typeface="Aptos Narrow" panose="020B0004020202020204" pitchFamily="34" charset="0"/>
              </a:rPr>
              <a:t>specVersion</a:t>
            </a:r>
            <a:r>
              <a:rPr lang="en-GB" sz="1000" noProof="1">
                <a:solidFill>
                  <a:schemeClr val="tx1"/>
                </a:solidFill>
                <a:latin typeface="Aptos Narrow" panose="020B0004020202020204" pitchFamily="34" charset="0"/>
              </a:rPr>
              <a:t> </a:t>
            </a:r>
            <a:r>
              <a:rPr lang="en-GB" sz="1000" b="1" noProof="1">
                <a:solidFill>
                  <a:srgbClr val="00B050"/>
                </a:solidFill>
                <a:latin typeface="Aptos Narrow" panose="020B0004020202020204" pitchFamily="34" charset="0"/>
              </a:rPr>
              <a:t>partialFullPcf</a:t>
            </a:r>
            <a:r>
              <a:rPr lang="en-GB" sz="1000" noProof="1">
                <a:solidFill>
                  <a:schemeClr val="tx1"/>
                </a:solidFill>
                <a:latin typeface="Aptos Narrow" panose="020B0004020202020204" pitchFamily="34" charset="0"/>
              </a:rPr>
              <a:t> </a:t>
            </a:r>
          </a:p>
        </p:txBody>
      </p:sp>
      <p:sp>
        <p:nvSpPr>
          <p:cNvPr id="257" name="Flowchart: Process 256">
            <a:extLst>
              <a:ext uri="{FF2B5EF4-FFF2-40B4-BE49-F238E27FC236}">
                <a16:creationId xmlns:a16="http://schemas.microsoft.com/office/drawing/2014/main" id="{AAAC2B22-4E17-E67C-9242-BF3990F1C5B3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11717503" y="1839595"/>
            <a:ext cx="1049177" cy="380480"/>
          </a:xfrm>
          <a:prstGeom prst="flowChartProcess">
            <a:avLst/>
          </a:prstGeom>
          <a:solidFill>
            <a:schemeClr val="bg1"/>
          </a:solidFill>
          <a:ln w="19050"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spAutoFit/>
          </a:bodyPr>
          <a:lstStyle/>
          <a:p>
            <a:pPr defTabSz="533400">
              <a:spcBef>
                <a:spcPct val="0"/>
              </a:spcBef>
              <a:spcAft>
                <a:spcPts val="100"/>
              </a:spcAft>
            </a:pPr>
            <a:r>
              <a:rPr lang="en-GB" sz="1000" noProof="1">
                <a:solidFill>
                  <a:schemeClr val="tx1"/>
                </a:solidFill>
                <a:latin typeface="Aptos Narrow" panose="020B0004020202020204" pitchFamily="34" charset="0"/>
              </a:rPr>
              <a:t>comment pcfLegalStatement </a:t>
            </a:r>
          </a:p>
        </p:txBody>
      </p:sp>
      <p:sp>
        <p:nvSpPr>
          <p:cNvPr id="258" name="Flowchart: Process 257">
            <a:extLst>
              <a:ext uri="{FF2B5EF4-FFF2-40B4-BE49-F238E27FC236}">
                <a16:creationId xmlns:a16="http://schemas.microsoft.com/office/drawing/2014/main" id="{91FCFE82-594F-3564-BAB7-2B8853DE50B2}"/>
              </a:ext>
            </a:extLst>
          </p:cNvPr>
          <p:cNvSpPr/>
          <p:nvPr>
            <p:custDataLst>
              <p:tags r:id="rId30"/>
            </p:custDataLst>
          </p:nvPr>
        </p:nvSpPr>
        <p:spPr>
          <a:xfrm>
            <a:off x="13028717" y="1839595"/>
            <a:ext cx="1863153" cy="871830"/>
          </a:xfrm>
          <a:prstGeom prst="flowChartProcess">
            <a:avLst/>
          </a:prstGeom>
          <a:solidFill>
            <a:schemeClr val="bg1"/>
          </a:solidFill>
          <a:ln w="19050"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spAutoFit/>
          </a:bodyPr>
          <a:lstStyle/>
          <a:p>
            <a:pPr defTabSz="533400">
              <a:spcBef>
                <a:spcPct val="0"/>
              </a:spcBef>
              <a:spcAft>
                <a:spcPts val="100"/>
              </a:spcAft>
            </a:pPr>
            <a:r>
              <a:rPr lang="en-GB" sz="1000" noProof="1">
                <a:solidFill>
                  <a:schemeClr val="tx1"/>
                </a:solidFill>
                <a:latin typeface="Aptos Narrow" panose="020B0004020202020204" pitchFamily="34" charset="0"/>
              </a:rPr>
              <a:t>carbonContentTotal fossilCarbonContent biogenicCarbonContent packagingBiogenicCarbonContent recycledCarbonContent </a:t>
            </a:r>
          </a:p>
        </p:txBody>
      </p:sp>
      <p:sp>
        <p:nvSpPr>
          <p:cNvPr id="259" name="Flowchart: Process 258">
            <a:extLst>
              <a:ext uri="{FF2B5EF4-FFF2-40B4-BE49-F238E27FC236}">
                <a16:creationId xmlns:a16="http://schemas.microsoft.com/office/drawing/2014/main" id="{42360D99-09A9-FEA4-79D9-ED0784BC6939}"/>
              </a:ext>
            </a:extLst>
          </p:cNvPr>
          <p:cNvSpPr/>
          <p:nvPr>
            <p:custDataLst>
              <p:tags r:id="rId31"/>
            </p:custDataLst>
          </p:nvPr>
        </p:nvSpPr>
        <p:spPr>
          <a:xfrm>
            <a:off x="15143325" y="1839595"/>
            <a:ext cx="1689610" cy="1447410"/>
          </a:xfrm>
          <a:prstGeom prst="flowChartProcess">
            <a:avLst/>
          </a:prstGeom>
          <a:solidFill>
            <a:schemeClr val="bg1"/>
          </a:solidFill>
          <a:ln w="19050"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spAutoFit/>
          </a:bodyPr>
          <a:lstStyle/>
          <a:p>
            <a:pPr fontAlgn="t">
              <a:spcAft>
                <a:spcPts val="100"/>
              </a:spcAft>
            </a:pPr>
            <a:r>
              <a:rPr lang="en-GB" sz="1000" b="1" noProof="1">
                <a:solidFill>
                  <a:schemeClr val="tx2">
                    <a:lumMod val="50000"/>
                    <a:lumOff val="50000"/>
                  </a:schemeClr>
                </a:solidFill>
                <a:latin typeface="Aptos Narrow" panose="020B0004020202020204" pitchFamily="34" charset="0"/>
              </a:rPr>
              <a:t>AttestationType</a:t>
            </a:r>
            <a:endParaRPr lang="en-GB" sz="1000" noProof="1">
              <a:solidFill>
                <a:schemeClr val="tx2">
                  <a:lumMod val="50000"/>
                  <a:lumOff val="50000"/>
                </a:schemeClr>
              </a:solidFill>
              <a:latin typeface="Aptos Narrow" panose="020B0004020202020204" pitchFamily="34" charset="0"/>
            </a:endParaRPr>
          </a:p>
          <a:p>
            <a:pPr fontAlgn="t">
              <a:spcAft>
                <a:spcPts val="100"/>
              </a:spcAft>
            </a:pPr>
            <a:r>
              <a:rPr lang="en-GB" sz="1000" b="1" noProof="1">
                <a:solidFill>
                  <a:schemeClr val="tx2">
                    <a:lumMod val="50000"/>
                    <a:lumOff val="50000"/>
                  </a:schemeClr>
                </a:solidFill>
                <a:latin typeface="Aptos Narrow" panose="020B0004020202020204" pitchFamily="34" charset="0"/>
              </a:rPr>
              <a:t>standardName</a:t>
            </a:r>
            <a:endParaRPr lang="en-GB" sz="1000" noProof="1">
              <a:solidFill>
                <a:schemeClr val="tx2">
                  <a:lumMod val="50000"/>
                  <a:lumOff val="50000"/>
                </a:schemeClr>
              </a:solidFill>
              <a:latin typeface="Aptos Narrow" panose="020B0004020202020204" pitchFamily="34" charset="0"/>
            </a:endParaRPr>
          </a:p>
          <a:p>
            <a:pPr fontAlgn="t">
              <a:spcAft>
                <a:spcPts val="100"/>
              </a:spcAft>
            </a:pPr>
            <a:r>
              <a:rPr lang="en-GB" sz="1000" b="1" noProof="1">
                <a:solidFill>
                  <a:schemeClr val="tx2">
                    <a:lumMod val="50000"/>
                    <a:lumOff val="50000"/>
                  </a:schemeClr>
                </a:solidFill>
                <a:latin typeface="Aptos Narrow" panose="020B0004020202020204" pitchFamily="34" charset="0"/>
              </a:rPr>
              <a:t>attestationStandard</a:t>
            </a:r>
            <a:endParaRPr lang="en-GB" sz="1000" noProof="1">
              <a:solidFill>
                <a:schemeClr val="tx2">
                  <a:lumMod val="50000"/>
                  <a:lumOff val="50000"/>
                </a:schemeClr>
              </a:solidFill>
              <a:latin typeface="Aptos Narrow" panose="020B0004020202020204" pitchFamily="34" charset="0"/>
            </a:endParaRPr>
          </a:p>
          <a:p>
            <a:pPr fontAlgn="t">
              <a:spcAft>
                <a:spcPts val="100"/>
              </a:spcAft>
            </a:pPr>
            <a:r>
              <a:rPr lang="en-GB" sz="1000" b="1" noProof="1">
                <a:solidFill>
                  <a:schemeClr val="tx2">
                    <a:lumMod val="50000"/>
                    <a:lumOff val="50000"/>
                  </a:schemeClr>
                </a:solidFill>
                <a:latin typeface="Aptos Narrow" panose="020B0004020202020204" pitchFamily="34" charset="0"/>
              </a:rPr>
              <a:t>attestationOfConformanceId</a:t>
            </a:r>
            <a:endParaRPr lang="en-GB" sz="1000" noProof="1">
              <a:solidFill>
                <a:schemeClr val="tx2">
                  <a:lumMod val="50000"/>
                  <a:lumOff val="50000"/>
                </a:schemeClr>
              </a:solidFill>
              <a:latin typeface="Aptos Narrow" panose="020B0004020202020204" pitchFamily="34" charset="0"/>
            </a:endParaRPr>
          </a:p>
          <a:p>
            <a:pPr fontAlgn="t">
              <a:spcAft>
                <a:spcPts val="100"/>
              </a:spcAft>
            </a:pPr>
            <a:r>
              <a:rPr lang="en-GB" sz="1000" noProof="1">
                <a:solidFill>
                  <a:schemeClr val="tx2">
                    <a:lumMod val="50000"/>
                    <a:lumOff val="50000"/>
                  </a:schemeClr>
                </a:solidFill>
                <a:latin typeface="Aptos Narrow" panose="020B0004020202020204" pitchFamily="34" charset="0"/>
              </a:rPr>
              <a:t>attestationOfConformanceLink</a:t>
            </a:r>
          </a:p>
          <a:p>
            <a:pPr fontAlgn="t">
              <a:spcAft>
                <a:spcPts val="100"/>
              </a:spcAft>
            </a:pPr>
            <a:r>
              <a:rPr lang="en-GB" sz="1000" b="1" noProof="1">
                <a:solidFill>
                  <a:schemeClr val="tx2">
                    <a:lumMod val="50000"/>
                    <a:lumOff val="50000"/>
                  </a:schemeClr>
                </a:solidFill>
                <a:latin typeface="Aptos Narrow" panose="020B0004020202020204" pitchFamily="34" charset="0"/>
              </a:rPr>
              <a:t>providerName</a:t>
            </a:r>
            <a:endParaRPr lang="en-GB" sz="1000" noProof="1">
              <a:solidFill>
                <a:schemeClr val="tx2">
                  <a:lumMod val="50000"/>
                  <a:lumOff val="50000"/>
                </a:schemeClr>
              </a:solidFill>
              <a:latin typeface="Aptos Narrow" panose="020B0004020202020204" pitchFamily="34" charset="0"/>
            </a:endParaRPr>
          </a:p>
          <a:p>
            <a:pPr fontAlgn="t">
              <a:spcAft>
                <a:spcPts val="100"/>
              </a:spcAft>
            </a:pPr>
            <a:r>
              <a:rPr lang="en-GB" sz="1000" noProof="1">
                <a:solidFill>
                  <a:schemeClr val="tx2">
                    <a:lumMod val="50000"/>
                    <a:lumOff val="50000"/>
                  </a:schemeClr>
                </a:solidFill>
                <a:latin typeface="Aptos Narrow" panose="020B0004020202020204" pitchFamily="34" charset="0"/>
              </a:rPr>
              <a:t>providerID</a:t>
            </a:r>
          </a:p>
          <a:p>
            <a:pPr fontAlgn="t">
              <a:spcAft>
                <a:spcPts val="100"/>
              </a:spcAft>
            </a:pPr>
            <a:r>
              <a:rPr lang="en-GB" sz="1000" noProof="1">
                <a:solidFill>
                  <a:schemeClr val="tx2">
                    <a:lumMod val="50000"/>
                    <a:lumOff val="50000"/>
                  </a:schemeClr>
                </a:solidFill>
                <a:latin typeface="Aptos Narrow" panose="020B0004020202020204" pitchFamily="34" charset="0"/>
              </a:rPr>
              <a:t>completedAt</a:t>
            </a:r>
          </a:p>
        </p:txBody>
      </p:sp>
      <p:sp>
        <p:nvSpPr>
          <p:cNvPr id="269" name="Flowchart: Process 268">
            <a:extLst>
              <a:ext uri="{FF2B5EF4-FFF2-40B4-BE49-F238E27FC236}">
                <a16:creationId xmlns:a16="http://schemas.microsoft.com/office/drawing/2014/main" id="{FC3EC0E2-EBC5-A6E2-F097-11E5640D0A08}"/>
              </a:ext>
            </a:extLst>
          </p:cNvPr>
          <p:cNvSpPr/>
          <p:nvPr>
            <p:custDataLst>
              <p:tags r:id="rId32"/>
            </p:custDataLst>
          </p:nvPr>
        </p:nvSpPr>
        <p:spPr>
          <a:xfrm>
            <a:off x="993125" y="3264961"/>
            <a:ext cx="1472308" cy="393304"/>
          </a:xfrm>
          <a:prstGeom prst="flowChartProcess">
            <a:avLst/>
          </a:prstGeom>
          <a:solidFill>
            <a:schemeClr val="bg1"/>
          </a:solidFill>
          <a:ln w="19050">
            <a:solidFill>
              <a:schemeClr val="tx2">
                <a:lumMod val="50000"/>
                <a:lumOff val="5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spAutoFit/>
          </a:bodyPr>
          <a:lstStyle/>
          <a:p>
            <a:pPr fontAlgn="t">
              <a:spcAft>
                <a:spcPts val="100"/>
              </a:spcAft>
            </a:pPr>
            <a:r>
              <a:rPr lang="en-GB" sz="1000" b="1" noProof="1">
                <a:solidFill>
                  <a:srgbClr val="000000"/>
                </a:solidFill>
                <a:latin typeface="Aptos Narrow" panose="020B0004020202020204" pitchFamily="34" charset="0"/>
              </a:rPr>
              <a:t>companyName</a:t>
            </a:r>
            <a:endParaRPr lang="en-GB" sz="1000" noProof="1">
              <a:latin typeface="Aptos Narrow" panose="020B0004020202020204" pitchFamily="34" charset="0"/>
            </a:endParaRPr>
          </a:p>
          <a:p>
            <a:pPr fontAlgn="t">
              <a:spcAft>
                <a:spcPts val="100"/>
              </a:spcAft>
            </a:pPr>
            <a:r>
              <a:rPr lang="en-GB" sz="1000" b="1" noProof="1">
                <a:solidFill>
                  <a:srgbClr val="000000"/>
                </a:solidFill>
                <a:latin typeface="Aptos Narrow" panose="020B0004020202020204" pitchFamily="34" charset="0"/>
              </a:rPr>
              <a:t>companyIds</a:t>
            </a:r>
            <a:endParaRPr lang="en-GB" sz="1000" noProof="1">
              <a:latin typeface="Aptos Narrow" panose="020B0004020202020204" pitchFamily="34" charset="0"/>
            </a:endParaRPr>
          </a:p>
        </p:txBody>
      </p:sp>
      <p:sp>
        <p:nvSpPr>
          <p:cNvPr id="271" name="Flowchart: Process 270">
            <a:extLst>
              <a:ext uri="{FF2B5EF4-FFF2-40B4-BE49-F238E27FC236}">
                <a16:creationId xmlns:a16="http://schemas.microsoft.com/office/drawing/2014/main" id="{2F30A1E4-EBC3-D5CD-67FF-021CF709A97E}"/>
              </a:ext>
            </a:extLst>
          </p:cNvPr>
          <p:cNvSpPr/>
          <p:nvPr>
            <p:custDataLst>
              <p:tags r:id="rId33"/>
            </p:custDataLst>
          </p:nvPr>
        </p:nvSpPr>
        <p:spPr>
          <a:xfrm>
            <a:off x="2647045" y="3264961"/>
            <a:ext cx="1707793" cy="1226865"/>
          </a:xfrm>
          <a:prstGeom prst="flowChartProcess">
            <a:avLst/>
          </a:prstGeom>
          <a:solidFill>
            <a:schemeClr val="bg1"/>
          </a:solidFill>
          <a:ln w="19050">
            <a:solidFill>
              <a:schemeClr val="tx2">
                <a:lumMod val="50000"/>
                <a:lumOff val="5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spAutoFit/>
          </a:bodyPr>
          <a:lstStyle/>
          <a:p>
            <a:pPr fontAlgn="t">
              <a:spcAft>
                <a:spcPts val="100"/>
              </a:spcAft>
            </a:pPr>
            <a:r>
              <a:rPr lang="en-GB" sz="1000" b="1" noProof="1">
                <a:solidFill>
                  <a:srgbClr val="000000"/>
                </a:solidFill>
                <a:latin typeface="Aptos Narrow" panose="020B0004020202020204" pitchFamily="34" charset="0"/>
              </a:rPr>
              <a:t>productNameCompany</a:t>
            </a:r>
            <a:endParaRPr lang="en-GB" sz="1000" noProof="1">
              <a:latin typeface="Aptos Narrow" panose="020B0004020202020204" pitchFamily="34" charset="0"/>
            </a:endParaRPr>
          </a:p>
          <a:p>
            <a:pPr fontAlgn="t">
              <a:spcAft>
                <a:spcPts val="100"/>
              </a:spcAft>
            </a:pPr>
            <a:r>
              <a:rPr lang="en-GB" sz="1000" b="1" noProof="1">
                <a:solidFill>
                  <a:srgbClr val="000000"/>
                </a:solidFill>
                <a:latin typeface="Aptos Narrow" panose="020B0004020202020204" pitchFamily="34" charset="0"/>
              </a:rPr>
              <a:t>productIds</a:t>
            </a:r>
            <a:endParaRPr lang="en-GB" sz="1000" noProof="1">
              <a:latin typeface="Aptos Narrow" panose="020B0004020202020204" pitchFamily="34" charset="0"/>
            </a:endParaRPr>
          </a:p>
          <a:p>
            <a:pPr fontAlgn="t">
              <a:spcAft>
                <a:spcPts val="100"/>
              </a:spcAft>
            </a:pPr>
            <a:r>
              <a:rPr lang="en-GB" sz="1000" noProof="1">
                <a:solidFill>
                  <a:srgbClr val="000000"/>
                </a:solidFill>
                <a:latin typeface="Aptos Narrow" panose="020B0004020202020204" pitchFamily="34" charset="0"/>
              </a:rPr>
              <a:t>productDescription</a:t>
            </a:r>
            <a:endParaRPr lang="en-GB" sz="1000" noProof="1">
              <a:latin typeface="Aptos Narrow" panose="020B0004020202020204" pitchFamily="34" charset="0"/>
            </a:endParaRPr>
          </a:p>
          <a:p>
            <a:pPr fontAlgn="t">
              <a:spcAft>
                <a:spcPts val="100"/>
              </a:spcAft>
            </a:pPr>
            <a:r>
              <a:rPr lang="en-GB" sz="1000" noProof="1">
                <a:solidFill>
                  <a:srgbClr val="000000"/>
                </a:solidFill>
                <a:latin typeface="Aptos Narrow" panose="020B0004020202020204" pitchFamily="34" charset="0"/>
              </a:rPr>
              <a:t>productClassifications</a:t>
            </a:r>
            <a:endParaRPr lang="en-GB" sz="1000" noProof="1">
              <a:latin typeface="Aptos Narrow" panose="020B0004020202020204" pitchFamily="34" charset="0"/>
            </a:endParaRPr>
          </a:p>
          <a:p>
            <a:pPr fontAlgn="t">
              <a:spcAft>
                <a:spcPts val="100"/>
              </a:spcAft>
            </a:pPr>
            <a:r>
              <a:rPr lang="en-GB" sz="1000" b="1" noProof="1">
                <a:solidFill>
                  <a:srgbClr val="000000"/>
                </a:solidFill>
                <a:latin typeface="Aptos Narrow" panose="020B0004020202020204" pitchFamily="34" charset="0"/>
              </a:rPr>
              <a:t>declaredUnitOfMeasurement</a:t>
            </a:r>
            <a:endParaRPr lang="en-GB" sz="1000" noProof="1">
              <a:latin typeface="Aptos Narrow" panose="020B0004020202020204" pitchFamily="34" charset="0"/>
            </a:endParaRPr>
          </a:p>
          <a:p>
            <a:pPr fontAlgn="t">
              <a:spcAft>
                <a:spcPts val="100"/>
              </a:spcAft>
            </a:pPr>
            <a:r>
              <a:rPr lang="en-GB" sz="1000" b="1" noProof="1">
                <a:solidFill>
                  <a:srgbClr val="000000"/>
                </a:solidFill>
                <a:latin typeface="Aptos Narrow" panose="020B0004020202020204" pitchFamily="34" charset="0"/>
              </a:rPr>
              <a:t>declaredUnitAmount</a:t>
            </a:r>
            <a:endParaRPr lang="en-GB" sz="1000" noProof="1">
              <a:latin typeface="Aptos Narrow" panose="020B0004020202020204" pitchFamily="34" charset="0"/>
            </a:endParaRPr>
          </a:p>
          <a:p>
            <a:pPr fontAlgn="t">
              <a:spcAft>
                <a:spcPts val="100"/>
              </a:spcAft>
            </a:pPr>
            <a:r>
              <a:rPr lang="en-GB" sz="1000" b="1" noProof="1">
                <a:solidFill>
                  <a:srgbClr val="000000"/>
                </a:solidFill>
                <a:latin typeface="Aptos Narrow" panose="020B0004020202020204" pitchFamily="34" charset="0"/>
              </a:rPr>
              <a:t>productMassPerDeclaredUnit</a:t>
            </a:r>
            <a:endParaRPr lang="en-GB" sz="1000" noProof="1">
              <a:latin typeface="Aptos Narrow" panose="020B0004020202020204" pitchFamily="34" charset="0"/>
            </a:endParaRPr>
          </a:p>
        </p:txBody>
      </p:sp>
      <p:sp>
        <p:nvSpPr>
          <p:cNvPr id="294" name="Flowchart: Process 293">
            <a:extLst>
              <a:ext uri="{FF2B5EF4-FFF2-40B4-BE49-F238E27FC236}">
                <a16:creationId xmlns:a16="http://schemas.microsoft.com/office/drawing/2014/main" id="{07CE62A5-BE7C-42DB-09DF-4A282D057586}"/>
              </a:ext>
            </a:extLst>
          </p:cNvPr>
          <p:cNvSpPr/>
          <p:nvPr>
            <p:custDataLst>
              <p:tags r:id="rId34"/>
            </p:custDataLst>
          </p:nvPr>
        </p:nvSpPr>
        <p:spPr>
          <a:xfrm>
            <a:off x="5689381" y="3264961"/>
            <a:ext cx="1959255" cy="893441"/>
          </a:xfrm>
          <a:prstGeom prst="flowChartProcess">
            <a:avLst/>
          </a:prstGeom>
          <a:solidFill>
            <a:schemeClr val="bg1"/>
          </a:solidFill>
          <a:ln w="19050">
            <a:solidFill>
              <a:schemeClr val="tx2">
                <a:lumMod val="50000"/>
                <a:lumOff val="5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spAutoFit/>
          </a:bodyPr>
          <a:lstStyle/>
          <a:p>
            <a:pPr fontAlgn="t">
              <a:spcAft>
                <a:spcPts val="100"/>
              </a:spcAft>
            </a:pPr>
            <a:r>
              <a:rPr lang="en-GB" sz="1000" b="1" noProof="1">
                <a:solidFill>
                  <a:schemeClr val="accent2"/>
                </a:solidFill>
                <a:latin typeface="Aptos Narrow" panose="020B0004020202020204" pitchFamily="34" charset="0"/>
              </a:rPr>
              <a:t>primaryDataShare</a:t>
            </a:r>
            <a:endParaRPr lang="en-GB" b="1" noProof="1">
              <a:solidFill>
                <a:schemeClr val="accent2"/>
              </a:solidFill>
              <a:latin typeface="Arial" panose="020B0604020202020204" pitchFamily="34" charset="0"/>
            </a:endParaRPr>
          </a:p>
          <a:p>
            <a:pPr fontAlgn="t">
              <a:spcAft>
                <a:spcPts val="100"/>
              </a:spcAft>
            </a:pPr>
            <a:r>
              <a:rPr lang="en-GB" sz="1000" b="1" noProof="1">
                <a:solidFill>
                  <a:srgbClr val="000000"/>
                </a:solidFill>
                <a:latin typeface="Aptos Narrow" panose="020B0004020202020204" pitchFamily="34" charset="0"/>
              </a:rPr>
              <a:t>secondaryEmissionFactorSources</a:t>
            </a:r>
            <a:endParaRPr lang="en-GB" noProof="1">
              <a:latin typeface="Arial" panose="020B0604020202020204" pitchFamily="34" charset="0"/>
            </a:endParaRPr>
          </a:p>
          <a:p>
            <a:pPr fontAlgn="t">
              <a:spcAft>
                <a:spcPts val="100"/>
              </a:spcAft>
            </a:pPr>
            <a:r>
              <a:rPr lang="en-GB" sz="1000" b="1" noProof="1">
                <a:solidFill>
                  <a:schemeClr val="accent2"/>
                </a:solidFill>
                <a:latin typeface="Aptos Narrow" panose="020B0004020202020204" pitchFamily="34" charset="0"/>
              </a:rPr>
              <a:t>technologicalDQR</a:t>
            </a:r>
            <a:endParaRPr lang="en-GB" b="1" noProof="1">
              <a:solidFill>
                <a:schemeClr val="accent2"/>
              </a:solidFill>
              <a:latin typeface="Arial" panose="020B0604020202020204" pitchFamily="34" charset="0"/>
            </a:endParaRPr>
          </a:p>
          <a:p>
            <a:pPr fontAlgn="t">
              <a:spcAft>
                <a:spcPts val="100"/>
              </a:spcAft>
            </a:pPr>
            <a:r>
              <a:rPr lang="en-GB" sz="1000" b="1" noProof="1">
                <a:solidFill>
                  <a:schemeClr val="accent2"/>
                </a:solidFill>
                <a:latin typeface="Aptos Narrow" panose="020B0004020202020204" pitchFamily="34" charset="0"/>
              </a:rPr>
              <a:t>temporalDQR</a:t>
            </a:r>
            <a:endParaRPr lang="en-GB" b="1" noProof="1">
              <a:solidFill>
                <a:schemeClr val="accent2"/>
              </a:solidFill>
              <a:latin typeface="Arial" panose="020B0604020202020204" pitchFamily="34" charset="0"/>
            </a:endParaRPr>
          </a:p>
          <a:p>
            <a:pPr fontAlgn="t">
              <a:spcAft>
                <a:spcPts val="100"/>
              </a:spcAft>
            </a:pPr>
            <a:r>
              <a:rPr lang="en-GB" sz="1000" b="1" noProof="1">
                <a:solidFill>
                  <a:schemeClr val="accent2"/>
                </a:solidFill>
                <a:latin typeface="Aptos Narrow" panose="020B0004020202020204" pitchFamily="34" charset="0"/>
              </a:rPr>
              <a:t>geographicalDQR</a:t>
            </a:r>
            <a:endParaRPr lang="en-GB" b="1" noProof="1">
              <a:solidFill>
                <a:schemeClr val="accent2"/>
              </a:solidFill>
              <a:latin typeface="Arial" panose="020B0604020202020204" pitchFamily="34" charset="0"/>
            </a:endParaRPr>
          </a:p>
        </p:txBody>
      </p:sp>
      <p:sp>
        <p:nvSpPr>
          <p:cNvPr id="312" name="Flowchart: Process 311">
            <a:extLst>
              <a:ext uri="{FF2B5EF4-FFF2-40B4-BE49-F238E27FC236}">
                <a16:creationId xmlns:a16="http://schemas.microsoft.com/office/drawing/2014/main" id="{3F0F448F-8F28-F1BB-9DCA-5A24EE192C17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7793615" y="3264961"/>
            <a:ext cx="2004158" cy="734310"/>
          </a:xfrm>
          <a:prstGeom prst="flowChartProcess">
            <a:avLst/>
          </a:prstGeom>
          <a:solidFill>
            <a:schemeClr val="bg1"/>
          </a:solidFill>
          <a:ln w="19050">
            <a:solidFill>
              <a:schemeClr val="tx2">
                <a:lumMod val="50000"/>
                <a:lumOff val="5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spAutoFit/>
          </a:bodyPr>
          <a:lstStyle/>
          <a:p>
            <a:pPr fontAlgn="t">
              <a:spcAft>
                <a:spcPts val="100"/>
              </a:spcAft>
            </a:pPr>
            <a:r>
              <a:rPr lang="en-GB" sz="1000" noProof="1">
                <a:solidFill>
                  <a:srgbClr val="000000"/>
                </a:solidFill>
                <a:latin typeface="Aptos Narrow" panose="020B0004020202020204" pitchFamily="34" charset="0"/>
              </a:rPr>
              <a:t>programCertificationShare</a:t>
            </a:r>
            <a:endParaRPr lang="en-GB" sz="1000" noProof="1">
              <a:latin typeface="Aptos Narrow" panose="020B0004020202020204" pitchFamily="34" charset="0"/>
            </a:endParaRPr>
          </a:p>
          <a:p>
            <a:pPr fontAlgn="t">
              <a:spcAft>
                <a:spcPts val="100"/>
              </a:spcAft>
            </a:pPr>
            <a:r>
              <a:rPr lang="en-GB" sz="1000" noProof="1">
                <a:solidFill>
                  <a:srgbClr val="000000"/>
                </a:solidFill>
                <a:latin typeface="Aptos Narrow" panose="020B0004020202020204" pitchFamily="34" charset="0"/>
              </a:rPr>
              <a:t>productVerificationShare3rdParty</a:t>
            </a:r>
            <a:endParaRPr lang="en-GB" sz="1000" noProof="1">
              <a:latin typeface="Aptos Narrow" panose="020B0004020202020204" pitchFamily="34" charset="0"/>
            </a:endParaRPr>
          </a:p>
          <a:p>
            <a:pPr fontAlgn="t">
              <a:spcAft>
                <a:spcPts val="100"/>
              </a:spcAft>
            </a:pPr>
            <a:r>
              <a:rPr lang="en-GB" sz="1000" noProof="1">
                <a:solidFill>
                  <a:srgbClr val="000000"/>
                </a:solidFill>
                <a:latin typeface="Aptos Narrow" panose="020B0004020202020204" pitchFamily="34" charset="0"/>
              </a:rPr>
              <a:t>productVerificationShare2ndParty</a:t>
            </a:r>
            <a:endParaRPr lang="en-GB" sz="1000" noProof="1">
              <a:latin typeface="Aptos Narrow" panose="020B0004020202020204" pitchFamily="34" charset="0"/>
            </a:endParaRPr>
          </a:p>
          <a:p>
            <a:pPr fontAlgn="t">
              <a:spcAft>
                <a:spcPts val="100"/>
              </a:spcAft>
            </a:pPr>
            <a:r>
              <a:rPr lang="en-GB" sz="1000" noProof="1">
                <a:solidFill>
                  <a:srgbClr val="000000"/>
                </a:solidFill>
                <a:latin typeface="Aptos Narrow" panose="020B0004020202020204" pitchFamily="34" charset="0"/>
              </a:rPr>
              <a:t>productVerificationShare1stPartyv</a:t>
            </a:r>
            <a:endParaRPr lang="en-GB" sz="1000" noProof="1">
              <a:latin typeface="Aptos Narrow" panose="020B0004020202020204" pitchFamily="34" charset="0"/>
            </a:endParaRPr>
          </a:p>
        </p:txBody>
      </p:sp>
      <p:sp>
        <p:nvSpPr>
          <p:cNvPr id="330" name="Flowchart: Process 329">
            <a:extLst>
              <a:ext uri="{FF2B5EF4-FFF2-40B4-BE49-F238E27FC236}">
                <a16:creationId xmlns:a16="http://schemas.microsoft.com/office/drawing/2014/main" id="{E1BFB03C-EE68-A1FF-19D8-944DACADBCFF}"/>
              </a:ext>
            </a:extLst>
          </p:cNvPr>
          <p:cNvSpPr/>
          <p:nvPr>
            <p:custDataLst>
              <p:tags r:id="rId36"/>
            </p:custDataLst>
          </p:nvPr>
        </p:nvSpPr>
        <p:spPr>
          <a:xfrm>
            <a:off x="8631881" y="5419938"/>
            <a:ext cx="2206799" cy="1560290"/>
          </a:xfrm>
          <a:prstGeom prst="flowChartProcess">
            <a:avLst/>
          </a:prstGeom>
          <a:solidFill>
            <a:schemeClr val="bg1"/>
          </a:solidFill>
          <a:ln w="19050">
            <a:solidFill>
              <a:schemeClr val="tx2">
                <a:lumMod val="50000"/>
                <a:lumOff val="5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spAutoFit/>
          </a:bodyPr>
          <a:lstStyle/>
          <a:p>
            <a:pPr fontAlgn="t">
              <a:spcAft>
                <a:spcPts val="100"/>
              </a:spcAft>
            </a:pPr>
            <a:r>
              <a:rPr lang="en-GB" sz="1000" b="1" noProof="1">
                <a:solidFill>
                  <a:schemeClr val="tx1"/>
                </a:solidFill>
                <a:latin typeface="Aptos Narrow" panose="020B0004020202020204" pitchFamily="34" charset="0"/>
              </a:rPr>
              <a:t>pcfIncludingBiogenicUptake</a:t>
            </a:r>
          </a:p>
          <a:p>
            <a:pPr fontAlgn="t">
              <a:spcAft>
                <a:spcPts val="100"/>
              </a:spcAft>
            </a:pPr>
            <a:r>
              <a:rPr lang="en-GB" sz="1000" b="1" noProof="1">
                <a:solidFill>
                  <a:schemeClr val="tx1"/>
                </a:solidFill>
                <a:latin typeface="Aptos Narrow" panose="020B0004020202020204" pitchFamily="34" charset="0"/>
              </a:rPr>
              <a:t>pcfExcludingBiogenicUptake</a:t>
            </a:r>
          </a:p>
          <a:p>
            <a:pPr fontAlgn="t">
              <a:spcAft>
                <a:spcPts val="100"/>
              </a:spcAft>
            </a:pPr>
            <a:r>
              <a:rPr lang="en-GB" sz="1000" noProof="1">
                <a:solidFill>
                  <a:schemeClr val="tx1"/>
                </a:solidFill>
                <a:latin typeface="Aptos Narrow" panose="020B0004020202020204" pitchFamily="34" charset="0"/>
              </a:rPr>
              <a:t>fossilGhgEmissions</a:t>
            </a:r>
          </a:p>
          <a:p>
            <a:pPr fontAlgn="t">
              <a:spcAft>
                <a:spcPts val="100"/>
              </a:spcAft>
            </a:pPr>
            <a:r>
              <a:rPr lang="en-GB" sz="1000" noProof="1">
                <a:solidFill>
                  <a:schemeClr val="tx1"/>
                </a:solidFill>
                <a:latin typeface="Aptos Narrow" panose="020B0004020202020204" pitchFamily="34" charset="0"/>
              </a:rPr>
              <a:t>biogenicNonCO2Emissions</a:t>
            </a:r>
          </a:p>
          <a:p>
            <a:pPr fontAlgn="t">
              <a:spcAft>
                <a:spcPts val="100"/>
              </a:spcAft>
            </a:pPr>
            <a:r>
              <a:rPr lang="en-GB" sz="1000" noProof="1">
                <a:solidFill>
                  <a:schemeClr val="tx1"/>
                </a:solidFill>
                <a:latin typeface="Aptos Narrow" panose="020B0004020202020204" pitchFamily="34" charset="0"/>
              </a:rPr>
              <a:t>biogenicCO2Uptake</a:t>
            </a:r>
          </a:p>
          <a:p>
            <a:pPr fontAlgn="t">
              <a:spcAft>
                <a:spcPts val="100"/>
              </a:spcAft>
            </a:pPr>
            <a:r>
              <a:rPr lang="en-GB" sz="1000" noProof="1">
                <a:solidFill>
                  <a:schemeClr val="tx1"/>
                </a:solidFill>
                <a:latin typeface="Aptos Narrow" panose="020B0004020202020204" pitchFamily="34" charset="0"/>
              </a:rPr>
              <a:t>landUseChangeGhgEmissions</a:t>
            </a:r>
          </a:p>
          <a:p>
            <a:pPr fontAlgn="t">
              <a:spcAft>
                <a:spcPts val="100"/>
              </a:spcAft>
            </a:pPr>
            <a:r>
              <a:rPr lang="en-GB" sz="1000" noProof="1">
                <a:solidFill>
                  <a:schemeClr val="tx1"/>
                </a:solidFill>
                <a:latin typeface="Aptos Narrow" panose="020B0004020202020204" pitchFamily="34" charset="0"/>
              </a:rPr>
              <a:t>landManagementBiogenicCO2Emissions</a:t>
            </a:r>
          </a:p>
          <a:p>
            <a:pPr fontAlgn="t">
              <a:spcAft>
                <a:spcPts val="100"/>
              </a:spcAft>
            </a:pPr>
            <a:r>
              <a:rPr lang="en-GB" sz="1000" noProof="1">
                <a:solidFill>
                  <a:schemeClr val="tx1"/>
                </a:solidFill>
                <a:latin typeface="Aptos Narrow" panose="020B0004020202020204" pitchFamily="34" charset="0"/>
              </a:rPr>
              <a:t>landManagementBiogenicCO2Removals</a:t>
            </a:r>
          </a:p>
          <a:p>
            <a:pPr fontAlgn="t">
              <a:spcAft>
                <a:spcPts val="100"/>
              </a:spcAft>
            </a:pPr>
            <a:r>
              <a:rPr lang="en-GB" sz="1000" noProof="1">
                <a:solidFill>
                  <a:schemeClr val="tx1"/>
                </a:solidFill>
                <a:latin typeface="Aptos Narrow" panose="020B0004020202020204" pitchFamily="34" charset="0"/>
              </a:rPr>
              <a:t>aircraftGhgEmissions</a:t>
            </a:r>
          </a:p>
        </p:txBody>
      </p:sp>
      <p:sp>
        <p:nvSpPr>
          <p:cNvPr id="332" name="Flowchart: Process 331">
            <a:extLst>
              <a:ext uri="{FF2B5EF4-FFF2-40B4-BE49-F238E27FC236}">
                <a16:creationId xmlns:a16="http://schemas.microsoft.com/office/drawing/2014/main" id="{DF922BE0-1F54-A5B6-E6F6-13CAEF377EDF}"/>
              </a:ext>
            </a:extLst>
          </p:cNvPr>
          <p:cNvSpPr/>
          <p:nvPr>
            <p:custDataLst>
              <p:tags r:id="rId37"/>
            </p:custDataLst>
          </p:nvPr>
        </p:nvSpPr>
        <p:spPr>
          <a:xfrm>
            <a:off x="10992269" y="5437266"/>
            <a:ext cx="2693277" cy="1727002"/>
          </a:xfrm>
          <a:prstGeom prst="flowChartProcess">
            <a:avLst/>
          </a:prstGeom>
          <a:solidFill>
            <a:schemeClr val="bg1"/>
          </a:solidFill>
          <a:ln w="19050">
            <a:solidFill>
              <a:schemeClr val="tx2">
                <a:lumMod val="50000"/>
                <a:lumOff val="5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spAutoFit/>
          </a:bodyPr>
          <a:lstStyle/>
          <a:p>
            <a:pPr fontAlgn="t">
              <a:spcAft>
                <a:spcPts val="100"/>
              </a:spcAft>
            </a:pPr>
            <a:r>
              <a:rPr lang="en-GB" sz="1000" b="1" noProof="1">
                <a:solidFill>
                  <a:srgbClr val="000000"/>
                </a:solidFill>
                <a:latin typeface="Aptos Narrow" panose="020B0004020202020204" pitchFamily="34" charset="0"/>
              </a:rPr>
              <a:t>packagingEmissionsIncluded</a:t>
            </a:r>
            <a:endParaRPr lang="en-GB" noProof="1">
              <a:latin typeface="Arial" panose="020B0604020202020204" pitchFamily="34" charset="0"/>
            </a:endParaRPr>
          </a:p>
          <a:p>
            <a:pPr fontAlgn="t">
              <a:spcAft>
                <a:spcPts val="100"/>
              </a:spcAft>
            </a:pPr>
            <a:r>
              <a:rPr lang="en-GB" sz="1000" noProof="1">
                <a:solidFill>
                  <a:srgbClr val="000000"/>
                </a:solidFill>
                <a:latin typeface="Aptos Narrow" panose="020B0004020202020204" pitchFamily="34" charset="0"/>
              </a:rPr>
              <a:t>packagingPcfIncludingBiogenicUptake</a:t>
            </a:r>
            <a:endParaRPr lang="en-GB" noProof="1">
              <a:latin typeface="Arial" panose="020B0604020202020204" pitchFamily="34" charset="0"/>
            </a:endParaRPr>
          </a:p>
          <a:p>
            <a:pPr fontAlgn="t">
              <a:spcAft>
                <a:spcPts val="100"/>
              </a:spcAft>
            </a:pPr>
            <a:r>
              <a:rPr lang="en-GB" sz="1000" noProof="1">
                <a:solidFill>
                  <a:srgbClr val="000000"/>
                </a:solidFill>
                <a:latin typeface="Aptos Narrow" panose="020B0004020202020204" pitchFamily="34" charset="0"/>
              </a:rPr>
              <a:t>packagingPcfExcludingBiogenicUptake</a:t>
            </a:r>
            <a:endParaRPr lang="en-GB" noProof="1">
              <a:latin typeface="Arial" panose="020B0604020202020204" pitchFamily="34" charset="0"/>
            </a:endParaRPr>
          </a:p>
          <a:p>
            <a:pPr fontAlgn="t">
              <a:spcAft>
                <a:spcPts val="100"/>
              </a:spcAft>
            </a:pPr>
            <a:r>
              <a:rPr lang="en-GB" sz="1000" noProof="1">
                <a:solidFill>
                  <a:srgbClr val="000000"/>
                </a:solidFill>
                <a:latin typeface="Aptos Narrow" panose="020B0004020202020204" pitchFamily="34" charset="0"/>
              </a:rPr>
              <a:t>packagingFossilGhgEmissions</a:t>
            </a:r>
            <a:endParaRPr lang="en-GB" noProof="1">
              <a:latin typeface="Arial" panose="020B0604020202020204" pitchFamily="34" charset="0"/>
            </a:endParaRPr>
          </a:p>
          <a:p>
            <a:pPr fontAlgn="t">
              <a:spcAft>
                <a:spcPts val="100"/>
              </a:spcAft>
            </a:pPr>
            <a:r>
              <a:rPr lang="en-GB" sz="1000" noProof="1">
                <a:solidFill>
                  <a:srgbClr val="000000"/>
                </a:solidFill>
                <a:latin typeface="Aptos Narrow" panose="020B0004020202020204" pitchFamily="34" charset="0"/>
              </a:rPr>
              <a:t>packagingBiogenicNonCO2Emissions</a:t>
            </a:r>
            <a:endParaRPr lang="en-GB" noProof="1">
              <a:latin typeface="Arial" panose="020B0604020202020204" pitchFamily="34" charset="0"/>
            </a:endParaRPr>
          </a:p>
          <a:p>
            <a:pPr fontAlgn="t">
              <a:spcAft>
                <a:spcPts val="100"/>
              </a:spcAft>
            </a:pPr>
            <a:r>
              <a:rPr lang="en-GB" sz="1000" noProof="1">
                <a:solidFill>
                  <a:srgbClr val="000000"/>
                </a:solidFill>
                <a:latin typeface="Aptos Narrow" panose="020B0004020202020204" pitchFamily="34" charset="0"/>
              </a:rPr>
              <a:t>packagingBiogenicCO2Uptake</a:t>
            </a:r>
            <a:endParaRPr lang="en-GB" noProof="1">
              <a:latin typeface="Arial" panose="020B0604020202020204" pitchFamily="34" charset="0"/>
            </a:endParaRPr>
          </a:p>
          <a:p>
            <a:pPr fontAlgn="t">
              <a:spcAft>
                <a:spcPts val="100"/>
              </a:spcAft>
            </a:pPr>
            <a:r>
              <a:rPr lang="en-GB" sz="1000" noProof="1">
                <a:solidFill>
                  <a:srgbClr val="000000"/>
                </a:solidFill>
                <a:latin typeface="Aptos Narrow" panose="020B0004020202020204" pitchFamily="34" charset="0"/>
              </a:rPr>
              <a:t>packagingLandUseChangeGhgEmissions</a:t>
            </a:r>
            <a:endParaRPr lang="en-GB" noProof="1">
              <a:latin typeface="Arial" panose="020B0604020202020204" pitchFamily="34" charset="0"/>
            </a:endParaRPr>
          </a:p>
          <a:p>
            <a:pPr fontAlgn="t">
              <a:spcAft>
                <a:spcPts val="100"/>
              </a:spcAft>
            </a:pPr>
            <a:r>
              <a:rPr lang="en-GB" sz="1000" noProof="1">
                <a:solidFill>
                  <a:srgbClr val="000000"/>
                </a:solidFill>
                <a:latin typeface="Aptos Narrow" panose="020B0004020202020204" pitchFamily="34" charset="0"/>
              </a:rPr>
              <a:t>packagingLandManagementBiogenicCO2Emissions</a:t>
            </a:r>
            <a:endParaRPr lang="en-GB" noProof="1">
              <a:latin typeface="Arial" panose="020B0604020202020204" pitchFamily="34" charset="0"/>
            </a:endParaRPr>
          </a:p>
          <a:p>
            <a:pPr fontAlgn="t">
              <a:spcAft>
                <a:spcPts val="100"/>
              </a:spcAft>
            </a:pPr>
            <a:r>
              <a:rPr lang="en-GB" sz="1000" noProof="1">
                <a:solidFill>
                  <a:srgbClr val="000000"/>
                </a:solidFill>
                <a:latin typeface="Aptos Narrow" panose="020B0004020202020204" pitchFamily="34" charset="0"/>
              </a:rPr>
              <a:t>packagingLandManagementBiogenicCO2Removals</a:t>
            </a:r>
            <a:endParaRPr lang="en-GB" noProof="1">
              <a:latin typeface="Arial" panose="020B0604020202020204" pitchFamily="34" charset="0"/>
            </a:endParaRPr>
          </a:p>
          <a:p>
            <a:pPr fontAlgn="t">
              <a:spcAft>
                <a:spcPts val="100"/>
              </a:spcAft>
            </a:pPr>
            <a:r>
              <a:rPr lang="en-GB" sz="1000" noProof="1">
                <a:solidFill>
                  <a:srgbClr val="000000"/>
                </a:solidFill>
                <a:latin typeface="Aptos Narrow" panose="020B0004020202020204" pitchFamily="34" charset="0"/>
              </a:rPr>
              <a:t>packagingAircraftGhgEmissions</a:t>
            </a:r>
            <a:endParaRPr lang="en-GB" noProof="1">
              <a:latin typeface="Arial" panose="020B0604020202020204" pitchFamily="34" charset="0"/>
            </a:endParaRPr>
          </a:p>
        </p:txBody>
      </p:sp>
      <p:sp>
        <p:nvSpPr>
          <p:cNvPr id="347" name="Flowchart: Process 346">
            <a:extLst>
              <a:ext uri="{FF2B5EF4-FFF2-40B4-BE49-F238E27FC236}">
                <a16:creationId xmlns:a16="http://schemas.microsoft.com/office/drawing/2014/main" id="{4F47DF50-1AA1-6987-C8D7-ED6ADF7AFC99}"/>
              </a:ext>
            </a:extLst>
          </p:cNvPr>
          <p:cNvSpPr/>
          <p:nvPr>
            <p:custDataLst>
              <p:tags r:id="rId38"/>
            </p:custDataLst>
          </p:nvPr>
        </p:nvSpPr>
        <p:spPr>
          <a:xfrm>
            <a:off x="13828198" y="5440173"/>
            <a:ext cx="3152421" cy="1727002"/>
          </a:xfrm>
          <a:prstGeom prst="flowChartProcess">
            <a:avLst/>
          </a:prstGeom>
          <a:solidFill>
            <a:schemeClr val="bg1"/>
          </a:solidFill>
          <a:ln w="19050">
            <a:solidFill>
              <a:schemeClr val="tx2">
                <a:lumMod val="50000"/>
                <a:lumOff val="5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spAutoFit/>
          </a:bodyPr>
          <a:lstStyle/>
          <a:p>
            <a:pPr fontAlgn="t">
              <a:spcAft>
                <a:spcPts val="100"/>
              </a:spcAft>
            </a:pPr>
            <a:r>
              <a:rPr lang="en-GB" sz="1000" b="1" noProof="1">
                <a:solidFill>
                  <a:srgbClr val="000000"/>
                </a:solidFill>
                <a:latin typeface="Aptos Narrow" panose="020B0004020202020204" pitchFamily="34" charset="0"/>
              </a:rPr>
              <a:t>distributionStageIncluded</a:t>
            </a:r>
            <a:endParaRPr lang="en-GB" sz="1000" noProof="1">
              <a:latin typeface="Aptos Narrow" panose="020B0004020202020204" pitchFamily="34" charset="0"/>
            </a:endParaRPr>
          </a:p>
          <a:p>
            <a:pPr fontAlgn="t">
              <a:spcAft>
                <a:spcPts val="100"/>
              </a:spcAft>
            </a:pPr>
            <a:r>
              <a:rPr lang="en-GB" sz="1000" noProof="1">
                <a:solidFill>
                  <a:srgbClr val="000000"/>
                </a:solidFill>
                <a:latin typeface="Aptos Narrow" panose="020B0004020202020204" pitchFamily="34" charset="0"/>
              </a:rPr>
              <a:t>distributionStagePcfIncludingBiogenicUptake</a:t>
            </a:r>
            <a:endParaRPr lang="en-GB" sz="1000" noProof="1">
              <a:latin typeface="Aptos Narrow" panose="020B0004020202020204" pitchFamily="34" charset="0"/>
            </a:endParaRPr>
          </a:p>
          <a:p>
            <a:pPr fontAlgn="t">
              <a:spcAft>
                <a:spcPts val="100"/>
              </a:spcAft>
            </a:pPr>
            <a:r>
              <a:rPr lang="en-GB" sz="1000" noProof="1">
                <a:solidFill>
                  <a:srgbClr val="000000"/>
                </a:solidFill>
                <a:latin typeface="Aptos Narrow" panose="020B0004020202020204" pitchFamily="34" charset="0"/>
              </a:rPr>
              <a:t>distributionStagePcfExcludingBiogenicUptake</a:t>
            </a:r>
            <a:endParaRPr lang="en-GB" sz="1000" noProof="1">
              <a:latin typeface="Aptos Narrow" panose="020B0004020202020204" pitchFamily="34" charset="0"/>
            </a:endParaRPr>
          </a:p>
          <a:p>
            <a:pPr fontAlgn="t">
              <a:spcAft>
                <a:spcPts val="100"/>
              </a:spcAft>
            </a:pPr>
            <a:r>
              <a:rPr lang="en-GB" sz="1000" noProof="1">
                <a:solidFill>
                  <a:srgbClr val="000000"/>
                </a:solidFill>
                <a:latin typeface="Aptos Narrow" panose="020B0004020202020204" pitchFamily="34" charset="0"/>
              </a:rPr>
              <a:t>distributionStageFossilGhgEmissions</a:t>
            </a:r>
            <a:endParaRPr lang="en-GB" sz="1000" noProof="1">
              <a:latin typeface="Aptos Narrow" panose="020B0004020202020204" pitchFamily="34" charset="0"/>
            </a:endParaRPr>
          </a:p>
          <a:p>
            <a:pPr fontAlgn="t">
              <a:spcAft>
                <a:spcPts val="100"/>
              </a:spcAft>
            </a:pPr>
            <a:r>
              <a:rPr lang="en-GB" sz="1000" noProof="1">
                <a:solidFill>
                  <a:srgbClr val="000000"/>
                </a:solidFill>
                <a:latin typeface="Aptos Narrow" panose="020B0004020202020204" pitchFamily="34" charset="0"/>
              </a:rPr>
              <a:t>distributionStageBiogenicNonCO2Emissions</a:t>
            </a:r>
            <a:endParaRPr lang="en-GB" sz="1000" noProof="1">
              <a:latin typeface="Aptos Narrow" panose="020B0004020202020204" pitchFamily="34" charset="0"/>
            </a:endParaRPr>
          </a:p>
          <a:p>
            <a:pPr fontAlgn="t">
              <a:spcAft>
                <a:spcPts val="100"/>
              </a:spcAft>
            </a:pPr>
            <a:r>
              <a:rPr lang="en-GB" sz="1000" noProof="1">
                <a:solidFill>
                  <a:srgbClr val="000000"/>
                </a:solidFill>
                <a:latin typeface="Aptos Narrow" panose="020B0004020202020204" pitchFamily="34" charset="0"/>
              </a:rPr>
              <a:t>distributionStageBiogenicCO2Uptake</a:t>
            </a:r>
            <a:endParaRPr lang="en-GB" sz="1000" noProof="1">
              <a:latin typeface="Aptos Narrow" panose="020B0004020202020204" pitchFamily="34" charset="0"/>
            </a:endParaRPr>
          </a:p>
          <a:p>
            <a:pPr fontAlgn="t">
              <a:spcAft>
                <a:spcPts val="100"/>
              </a:spcAft>
            </a:pPr>
            <a:r>
              <a:rPr lang="en-GB" sz="1000" noProof="1">
                <a:solidFill>
                  <a:srgbClr val="000000"/>
                </a:solidFill>
                <a:latin typeface="Aptos Narrow" panose="020B0004020202020204" pitchFamily="34" charset="0"/>
              </a:rPr>
              <a:t>distributionStageLandUseChangeGhgEmissions</a:t>
            </a:r>
            <a:endParaRPr lang="en-GB" sz="1000" noProof="1">
              <a:latin typeface="Aptos Narrow" panose="020B0004020202020204" pitchFamily="34" charset="0"/>
            </a:endParaRPr>
          </a:p>
          <a:p>
            <a:pPr fontAlgn="t">
              <a:spcAft>
                <a:spcPts val="100"/>
              </a:spcAft>
            </a:pPr>
            <a:r>
              <a:rPr lang="en-GB" sz="1000" noProof="1">
                <a:solidFill>
                  <a:srgbClr val="000000"/>
                </a:solidFill>
                <a:latin typeface="Aptos Narrow" panose="020B0004020202020204" pitchFamily="34" charset="0"/>
              </a:rPr>
              <a:t>distributionStageLandManagementBiogenicCO2Emissions</a:t>
            </a:r>
            <a:endParaRPr lang="en-GB" sz="1000" noProof="1">
              <a:latin typeface="Aptos Narrow" panose="020B0004020202020204" pitchFamily="34" charset="0"/>
            </a:endParaRPr>
          </a:p>
          <a:p>
            <a:pPr fontAlgn="t">
              <a:spcAft>
                <a:spcPts val="100"/>
              </a:spcAft>
            </a:pPr>
            <a:r>
              <a:rPr lang="en-GB" sz="1000" noProof="1">
                <a:solidFill>
                  <a:srgbClr val="000000"/>
                </a:solidFill>
                <a:latin typeface="Aptos Narrow" panose="020B0004020202020204" pitchFamily="34" charset="0"/>
              </a:rPr>
              <a:t>distributionStageLandManagementBiogenicCO2Removals</a:t>
            </a:r>
            <a:endParaRPr lang="en-GB" sz="1000" noProof="1">
              <a:latin typeface="Aptos Narrow" panose="020B0004020202020204" pitchFamily="34" charset="0"/>
            </a:endParaRPr>
          </a:p>
          <a:p>
            <a:pPr fontAlgn="t">
              <a:spcAft>
                <a:spcPts val="100"/>
              </a:spcAft>
            </a:pPr>
            <a:r>
              <a:rPr lang="en-GB" sz="1000" noProof="1">
                <a:solidFill>
                  <a:srgbClr val="000000"/>
                </a:solidFill>
                <a:latin typeface="Aptos Narrow" panose="020B0004020202020204" pitchFamily="34" charset="0"/>
              </a:rPr>
              <a:t>distributionStageAircraftGhgEmissions</a:t>
            </a:r>
            <a:endParaRPr lang="en-GB" sz="1000" noProof="1">
              <a:latin typeface="Aptos Narrow" panose="020B0004020202020204" pitchFamily="34" charset="0"/>
            </a:endParaRPr>
          </a:p>
        </p:txBody>
      </p:sp>
      <p:cxnSp>
        <p:nvCxnSpPr>
          <p:cNvPr id="354" name="Straight Arrow Connector 353">
            <a:extLst>
              <a:ext uri="{FF2B5EF4-FFF2-40B4-BE49-F238E27FC236}">
                <a16:creationId xmlns:a16="http://schemas.microsoft.com/office/drawing/2014/main" id="{6474B113-DC04-DF4F-E502-DE611BE059EB}"/>
              </a:ext>
            </a:extLst>
          </p:cNvPr>
          <p:cNvCxnSpPr>
            <a:cxnSpLocks/>
            <a:stCxn id="121" idx="2"/>
            <a:endCxn id="252" idx="0"/>
          </p:cNvCxnSpPr>
          <p:nvPr/>
        </p:nvCxnSpPr>
        <p:spPr>
          <a:xfrm>
            <a:off x="891488" y="1607998"/>
            <a:ext cx="5583" cy="23159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6" name="Straight Arrow Connector 355">
            <a:extLst>
              <a:ext uri="{FF2B5EF4-FFF2-40B4-BE49-F238E27FC236}">
                <a16:creationId xmlns:a16="http://schemas.microsoft.com/office/drawing/2014/main" id="{E77C25BE-5D9B-824E-635F-A518651A9977}"/>
              </a:ext>
            </a:extLst>
          </p:cNvPr>
          <p:cNvCxnSpPr>
            <a:cxnSpLocks/>
            <a:stCxn id="139" idx="2"/>
            <a:endCxn id="257" idx="0"/>
          </p:cNvCxnSpPr>
          <p:nvPr/>
        </p:nvCxnSpPr>
        <p:spPr>
          <a:xfrm flipH="1">
            <a:off x="12242092" y="1589925"/>
            <a:ext cx="6817" cy="24967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8" name="Straight Arrow Connector 357">
            <a:extLst>
              <a:ext uri="{FF2B5EF4-FFF2-40B4-BE49-F238E27FC236}">
                <a16:creationId xmlns:a16="http://schemas.microsoft.com/office/drawing/2014/main" id="{13EE0B59-F1FE-CB83-EC87-D200F470F58A}"/>
              </a:ext>
            </a:extLst>
          </p:cNvPr>
          <p:cNvCxnSpPr>
            <a:cxnSpLocks/>
            <a:stCxn id="144" idx="2"/>
            <a:endCxn id="258" idx="0"/>
          </p:cNvCxnSpPr>
          <p:nvPr/>
        </p:nvCxnSpPr>
        <p:spPr>
          <a:xfrm flipH="1">
            <a:off x="13960294" y="1589925"/>
            <a:ext cx="5986" cy="24967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8" name="Straight Arrow Connector 377">
            <a:extLst>
              <a:ext uri="{FF2B5EF4-FFF2-40B4-BE49-F238E27FC236}">
                <a16:creationId xmlns:a16="http://schemas.microsoft.com/office/drawing/2014/main" id="{C1AA0A15-BAF2-D791-6D5F-2D07DCD7C08B}"/>
              </a:ext>
            </a:extLst>
          </p:cNvPr>
          <p:cNvCxnSpPr>
            <a:cxnSpLocks/>
            <a:stCxn id="145" idx="2"/>
            <a:endCxn id="259" idx="0"/>
          </p:cNvCxnSpPr>
          <p:nvPr/>
        </p:nvCxnSpPr>
        <p:spPr>
          <a:xfrm>
            <a:off x="15988130" y="1589925"/>
            <a:ext cx="0" cy="24967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5" name="Straight Arrow Connector 424">
            <a:extLst>
              <a:ext uri="{FF2B5EF4-FFF2-40B4-BE49-F238E27FC236}">
                <a16:creationId xmlns:a16="http://schemas.microsoft.com/office/drawing/2014/main" id="{8169D0BC-5724-0C9D-9DED-157A1A904ED4}"/>
              </a:ext>
            </a:extLst>
          </p:cNvPr>
          <p:cNvCxnSpPr>
            <a:cxnSpLocks/>
            <a:stCxn id="123" idx="2"/>
            <a:endCxn id="269" idx="0"/>
          </p:cNvCxnSpPr>
          <p:nvPr/>
        </p:nvCxnSpPr>
        <p:spPr>
          <a:xfrm flipH="1">
            <a:off x="1729279" y="3030861"/>
            <a:ext cx="1420" cy="23410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8" name="Straight Arrow Connector 427">
            <a:extLst>
              <a:ext uri="{FF2B5EF4-FFF2-40B4-BE49-F238E27FC236}">
                <a16:creationId xmlns:a16="http://schemas.microsoft.com/office/drawing/2014/main" id="{264A733A-9B0C-E6D1-9DAC-AEA8629F5B22}"/>
              </a:ext>
            </a:extLst>
          </p:cNvPr>
          <p:cNvCxnSpPr>
            <a:cxnSpLocks/>
            <a:stCxn id="124" idx="2"/>
            <a:endCxn id="271" idx="0"/>
          </p:cNvCxnSpPr>
          <p:nvPr/>
        </p:nvCxnSpPr>
        <p:spPr>
          <a:xfrm>
            <a:off x="3496152" y="3030861"/>
            <a:ext cx="4790" cy="23410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2" name="Straight Arrow Connector 431">
            <a:extLst>
              <a:ext uri="{FF2B5EF4-FFF2-40B4-BE49-F238E27FC236}">
                <a16:creationId xmlns:a16="http://schemas.microsoft.com/office/drawing/2014/main" id="{A96E5B63-89D9-764F-1E19-8C1F422AE43F}"/>
              </a:ext>
            </a:extLst>
          </p:cNvPr>
          <p:cNvCxnSpPr>
            <a:stCxn id="137" idx="2"/>
            <a:endCxn id="294" idx="0"/>
          </p:cNvCxnSpPr>
          <p:nvPr/>
        </p:nvCxnSpPr>
        <p:spPr>
          <a:xfrm>
            <a:off x="6667318" y="3030861"/>
            <a:ext cx="1691" cy="23410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4" name="Straight Arrow Connector 433">
            <a:extLst>
              <a:ext uri="{FF2B5EF4-FFF2-40B4-BE49-F238E27FC236}">
                <a16:creationId xmlns:a16="http://schemas.microsoft.com/office/drawing/2014/main" id="{BCCE296C-FB0C-0806-04A4-9CF58EF4A143}"/>
              </a:ext>
            </a:extLst>
          </p:cNvPr>
          <p:cNvCxnSpPr>
            <a:cxnSpLocks/>
            <a:stCxn id="138" idx="2"/>
            <a:endCxn id="312" idx="0"/>
          </p:cNvCxnSpPr>
          <p:nvPr/>
        </p:nvCxnSpPr>
        <p:spPr>
          <a:xfrm>
            <a:off x="8792418" y="3030861"/>
            <a:ext cx="3276" cy="23410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6" name="Straight Arrow Connector 435">
            <a:extLst>
              <a:ext uri="{FF2B5EF4-FFF2-40B4-BE49-F238E27FC236}">
                <a16:creationId xmlns:a16="http://schemas.microsoft.com/office/drawing/2014/main" id="{9E5B3B9C-AA55-E5BE-E164-AE2438D548F5}"/>
              </a:ext>
            </a:extLst>
          </p:cNvPr>
          <p:cNvCxnSpPr>
            <a:cxnSpLocks/>
            <a:stCxn id="141" idx="2"/>
            <a:endCxn id="330" idx="0"/>
          </p:cNvCxnSpPr>
          <p:nvPr/>
        </p:nvCxnSpPr>
        <p:spPr>
          <a:xfrm flipH="1">
            <a:off x="9735281" y="5189507"/>
            <a:ext cx="7565" cy="23043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8" name="Straight Arrow Connector 437">
            <a:extLst>
              <a:ext uri="{FF2B5EF4-FFF2-40B4-BE49-F238E27FC236}">
                <a16:creationId xmlns:a16="http://schemas.microsoft.com/office/drawing/2014/main" id="{2149741A-4725-1703-8D15-BBC89F63E686}"/>
              </a:ext>
            </a:extLst>
          </p:cNvPr>
          <p:cNvCxnSpPr>
            <a:cxnSpLocks/>
            <a:stCxn id="142" idx="2"/>
            <a:endCxn id="332" idx="0"/>
          </p:cNvCxnSpPr>
          <p:nvPr/>
        </p:nvCxnSpPr>
        <p:spPr>
          <a:xfrm>
            <a:off x="12335542" y="5198191"/>
            <a:ext cx="3366" cy="23907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0" name="Straight Arrow Connector 439">
            <a:extLst>
              <a:ext uri="{FF2B5EF4-FFF2-40B4-BE49-F238E27FC236}">
                <a16:creationId xmlns:a16="http://schemas.microsoft.com/office/drawing/2014/main" id="{D961CC9D-6DAE-8194-8412-EA51472998B7}"/>
              </a:ext>
            </a:extLst>
          </p:cNvPr>
          <p:cNvCxnSpPr>
            <a:cxnSpLocks/>
            <a:stCxn id="143" idx="2"/>
            <a:endCxn id="347" idx="0"/>
          </p:cNvCxnSpPr>
          <p:nvPr/>
        </p:nvCxnSpPr>
        <p:spPr>
          <a:xfrm>
            <a:off x="15401043" y="5219413"/>
            <a:ext cx="3366" cy="22076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9" name="Flowchart: Process 588">
            <a:extLst>
              <a:ext uri="{FF2B5EF4-FFF2-40B4-BE49-F238E27FC236}">
                <a16:creationId xmlns:a16="http://schemas.microsoft.com/office/drawing/2014/main" id="{3C9BEB56-B0B1-E4FD-5536-9AC129AB8F15}"/>
              </a:ext>
            </a:extLst>
          </p:cNvPr>
          <p:cNvSpPr/>
          <p:nvPr>
            <p:custDataLst>
              <p:tags r:id="rId39"/>
            </p:custDataLst>
          </p:nvPr>
        </p:nvSpPr>
        <p:spPr>
          <a:xfrm>
            <a:off x="224971" y="8277895"/>
            <a:ext cx="1590692" cy="893441"/>
          </a:xfrm>
          <a:prstGeom prst="flowChartProcess">
            <a:avLst/>
          </a:prstGeom>
          <a:solidFill>
            <a:schemeClr val="bg1"/>
          </a:solidFill>
          <a:ln w="1905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spAutoFit/>
          </a:bodyPr>
          <a:lstStyle/>
          <a:p>
            <a:pPr marL="0" algn="l" rtl="0" eaLnBrk="1" fontAlgn="t" latinLnBrk="0" hangingPunct="1">
              <a:spcAft>
                <a:spcPts val="100"/>
              </a:spcAft>
              <a:buNone/>
            </a:pPr>
            <a:r>
              <a:rPr lang="en-GB" sz="1000" b="1" i="0" u="none" strike="noStrike" kern="1200" noProof="1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Id</a:t>
            </a:r>
            <a:endParaRPr lang="en-GB" sz="1800" b="0" i="0" u="none" strike="noStrike" noProof="1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Aft>
                <a:spcPts val="100"/>
              </a:spcAft>
              <a:buNone/>
            </a:pPr>
            <a:r>
              <a:rPr lang="en-GB" sz="1000" b="0" i="0" u="none" strike="noStrike" kern="1200" noProof="1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precedingPfIds</a:t>
            </a:r>
            <a:endParaRPr lang="en-GB" sz="1800" b="0" i="0" u="none" strike="noStrike" noProof="1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Aft>
                <a:spcPts val="100"/>
              </a:spcAft>
              <a:buNone/>
            </a:pPr>
            <a:r>
              <a:rPr lang="en-GB" sz="1000" b="1" i="0" u="none" strike="noStrike" kern="1200" noProof="1">
                <a:solidFill>
                  <a:srgbClr val="00B050"/>
                </a:solidFill>
                <a:effectLst/>
                <a:latin typeface="Aptos Narrow" panose="020B0004020202020204" pitchFamily="34" charset="0"/>
              </a:rPr>
              <a:t>version</a:t>
            </a:r>
            <a:endParaRPr lang="en-GB" sz="1800" b="0" i="0" u="none" strike="noStrike" noProof="1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Aft>
                <a:spcPts val="100"/>
              </a:spcAft>
            </a:pPr>
            <a:r>
              <a:rPr lang="en-GB" sz="1000" b="1" i="0" u="none" strike="noStrike" kern="1200" noProof="1">
                <a:solidFill>
                  <a:srgbClr val="00B050"/>
                </a:solidFill>
                <a:effectLst/>
                <a:latin typeface="Aptos Narrow" panose="020B0004020202020204" pitchFamily="34" charset="0"/>
              </a:rPr>
              <a:t>Status</a:t>
            </a:r>
          </a:p>
          <a:p>
            <a:pPr marL="0" algn="l" rtl="0" eaLnBrk="1" fontAlgn="t" latinLnBrk="0" hangingPunct="1">
              <a:spcAft>
                <a:spcPts val="100"/>
              </a:spcAft>
            </a:pPr>
            <a:r>
              <a:rPr lang="en-GB" sz="1000" b="1" i="0" u="none" strike="noStrike" noProof="1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retroOrProspectivePcfType</a:t>
            </a:r>
            <a:r>
              <a:rPr lang="en-GB" sz="1000" noProof="1">
                <a:latin typeface="Aptos Narrow" panose="020B0004020202020204" pitchFamily="34" charset="0"/>
              </a:rPr>
              <a:t> </a:t>
            </a:r>
            <a:endParaRPr lang="en-GB" sz="1000" b="0" i="0" u="none" strike="noStrike" noProof="1">
              <a:effectLst/>
              <a:latin typeface="Aptos Narrow" panose="020B0004020202020204" pitchFamily="34" charset="0"/>
            </a:endParaRPr>
          </a:p>
        </p:txBody>
      </p:sp>
      <p:sp>
        <p:nvSpPr>
          <p:cNvPr id="592" name="Flowchart: Process 591">
            <a:extLst>
              <a:ext uri="{FF2B5EF4-FFF2-40B4-BE49-F238E27FC236}">
                <a16:creationId xmlns:a16="http://schemas.microsoft.com/office/drawing/2014/main" id="{6F19B734-989C-3259-2EA1-2921401FDD17}"/>
              </a:ext>
            </a:extLst>
          </p:cNvPr>
          <p:cNvSpPr/>
          <p:nvPr>
            <p:custDataLst>
              <p:tags r:id="rId40"/>
            </p:custDataLst>
          </p:nvPr>
        </p:nvSpPr>
        <p:spPr>
          <a:xfrm>
            <a:off x="1274182" y="6650204"/>
            <a:ext cx="1723677" cy="393304"/>
          </a:xfrm>
          <a:prstGeom prst="flowChartProcess">
            <a:avLst/>
          </a:prstGeom>
          <a:solidFill>
            <a:schemeClr val="bg1"/>
          </a:solidFill>
          <a:ln w="1905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spAutoFit/>
          </a:bodyPr>
          <a:lstStyle/>
          <a:p>
            <a:pPr marL="0" algn="l" rtl="0" eaLnBrk="1" fontAlgn="t" latinLnBrk="0" hangingPunct="1">
              <a:spcAft>
                <a:spcPts val="100"/>
              </a:spcAft>
              <a:buNone/>
            </a:pPr>
            <a:r>
              <a:rPr lang="en-GB" sz="1000" b="1" i="0" u="none" strike="noStrike" kern="1200" noProof="1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exemptedEmissionsPercent</a:t>
            </a:r>
            <a:endParaRPr lang="en-GB" sz="1800" b="0" i="0" u="none" strike="noStrike" noProof="1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Aft>
                <a:spcPts val="100"/>
              </a:spcAft>
            </a:pPr>
            <a:r>
              <a:rPr lang="en-GB" sz="1000" b="0" i="0" u="none" strike="noStrike" kern="1200" noProof="1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exemptedEmissionsDescription</a:t>
            </a:r>
            <a:endParaRPr lang="en-GB" sz="1800" b="0" i="0" u="none" strike="noStrike" noProof="1">
              <a:effectLst/>
              <a:latin typeface="Arial" panose="020B0604020202020204" pitchFamily="34" charset="0"/>
            </a:endParaRPr>
          </a:p>
        </p:txBody>
      </p:sp>
      <p:sp>
        <p:nvSpPr>
          <p:cNvPr id="599" name="Flowchart: Process 598">
            <a:extLst>
              <a:ext uri="{FF2B5EF4-FFF2-40B4-BE49-F238E27FC236}">
                <a16:creationId xmlns:a16="http://schemas.microsoft.com/office/drawing/2014/main" id="{785BA351-03C4-5DD4-E2D8-8232B5FF70CD}"/>
              </a:ext>
            </a:extLst>
          </p:cNvPr>
          <p:cNvSpPr/>
          <p:nvPr>
            <p:custDataLst>
              <p:tags r:id="rId41"/>
            </p:custDataLst>
          </p:nvPr>
        </p:nvSpPr>
        <p:spPr>
          <a:xfrm>
            <a:off x="2094747" y="8283936"/>
            <a:ext cx="2268381" cy="393304"/>
          </a:xfrm>
          <a:prstGeom prst="flowChartProcess">
            <a:avLst/>
          </a:prstGeom>
          <a:solidFill>
            <a:schemeClr val="bg1"/>
          </a:solidFill>
          <a:ln w="1905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spAutoFit/>
          </a:bodyPr>
          <a:lstStyle/>
          <a:p>
            <a:pPr marL="0" algn="l" rtl="0" eaLnBrk="1" fontAlgn="t" latinLnBrk="0" hangingPunct="1">
              <a:spcAft>
                <a:spcPts val="100"/>
              </a:spcAft>
              <a:buNone/>
            </a:pPr>
            <a:r>
              <a:rPr lang="en-GB" sz="1000" b="0" i="0" u="none" strike="noStrike" kern="1200" noProof="1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boundaryProcessesDescription</a:t>
            </a:r>
            <a:endParaRPr lang="en-GB" sz="1800" b="0" i="0" u="none" strike="noStrike" noProof="1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Aft>
                <a:spcPts val="100"/>
              </a:spcAft>
            </a:pPr>
            <a:r>
              <a:rPr lang="en-GB" sz="1000" b="1" i="0" u="none" strike="noStrike" kern="1200" noProof="1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ccsTechnologicalCO2CaptureIncluded</a:t>
            </a:r>
            <a:endParaRPr lang="en-GB" sz="1800" b="0" i="0" u="none" strike="noStrike" noProof="1">
              <a:effectLst/>
              <a:latin typeface="Arial" panose="020B0604020202020204" pitchFamily="34" charset="0"/>
            </a:endParaRPr>
          </a:p>
        </p:txBody>
      </p:sp>
      <p:sp>
        <p:nvSpPr>
          <p:cNvPr id="605" name="Flowchart: Process 604">
            <a:extLst>
              <a:ext uri="{FF2B5EF4-FFF2-40B4-BE49-F238E27FC236}">
                <a16:creationId xmlns:a16="http://schemas.microsoft.com/office/drawing/2014/main" id="{0F70D048-8782-303A-684A-BED9A2012A00}"/>
              </a:ext>
            </a:extLst>
          </p:cNvPr>
          <p:cNvSpPr/>
          <p:nvPr>
            <p:custDataLst>
              <p:tags r:id="rId42"/>
            </p:custDataLst>
          </p:nvPr>
        </p:nvSpPr>
        <p:spPr>
          <a:xfrm>
            <a:off x="3460447" y="6650204"/>
            <a:ext cx="1730474" cy="560016"/>
          </a:xfrm>
          <a:prstGeom prst="flowChartProcess">
            <a:avLst/>
          </a:prstGeom>
          <a:solidFill>
            <a:schemeClr val="bg1"/>
          </a:solidFill>
          <a:ln w="1905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spAutoFit/>
          </a:bodyPr>
          <a:lstStyle/>
          <a:p>
            <a:pPr marL="0" algn="l" rtl="0" eaLnBrk="1" fontAlgn="t" latinLnBrk="0" hangingPunct="1">
              <a:spcAft>
                <a:spcPts val="100"/>
              </a:spcAft>
              <a:buNone/>
            </a:pPr>
            <a:r>
              <a:rPr lang="en-GB" sz="1000" b="0" i="0" u="none" strike="noStrike" kern="1200" noProof="1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geographyCountrySubdivision</a:t>
            </a:r>
            <a:endParaRPr lang="en-GB" sz="1800" b="0" i="0" u="none" strike="noStrike" noProof="1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Aft>
                <a:spcPts val="100"/>
              </a:spcAft>
              <a:buNone/>
            </a:pPr>
            <a:r>
              <a:rPr lang="en-GB" sz="1000" b="0" i="0" u="none" strike="noStrike" kern="1200" noProof="1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geographyCountry</a:t>
            </a:r>
            <a:endParaRPr lang="en-GB" sz="1800" b="0" i="0" u="none" strike="noStrike" noProof="1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Aft>
                <a:spcPts val="100"/>
              </a:spcAft>
            </a:pPr>
            <a:r>
              <a:rPr lang="en-GB" sz="1000" b="1" i="0" u="none" strike="noStrike" kern="1200" noProof="1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geographyRegionOrSubregion</a:t>
            </a:r>
            <a:endParaRPr lang="en-GB" sz="1800" b="0" i="0" u="none" strike="noStrike" noProof="1">
              <a:effectLst/>
              <a:latin typeface="Arial" panose="020B0604020202020204" pitchFamily="34" charset="0"/>
            </a:endParaRPr>
          </a:p>
        </p:txBody>
      </p:sp>
      <p:sp>
        <p:nvSpPr>
          <p:cNvPr id="610" name="Flowchart: Process 609">
            <a:extLst>
              <a:ext uri="{FF2B5EF4-FFF2-40B4-BE49-F238E27FC236}">
                <a16:creationId xmlns:a16="http://schemas.microsoft.com/office/drawing/2014/main" id="{F88AC1B6-E665-0F8B-D477-CFDD12D3DC61}"/>
              </a:ext>
            </a:extLst>
          </p:cNvPr>
          <p:cNvSpPr/>
          <p:nvPr>
            <p:custDataLst>
              <p:tags r:id="rId43"/>
            </p:custDataLst>
          </p:nvPr>
        </p:nvSpPr>
        <p:spPr>
          <a:xfrm>
            <a:off x="5497984" y="6650204"/>
            <a:ext cx="1259328" cy="893441"/>
          </a:xfrm>
          <a:prstGeom prst="flowChartProcess">
            <a:avLst/>
          </a:prstGeom>
          <a:solidFill>
            <a:schemeClr val="bg1"/>
          </a:solidFill>
          <a:ln w="1905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spAutoFit/>
          </a:bodyPr>
          <a:lstStyle/>
          <a:p>
            <a:pPr marL="0" algn="l" rtl="0" eaLnBrk="1" fontAlgn="t" latinLnBrk="0" hangingPunct="1">
              <a:spcAft>
                <a:spcPts val="100"/>
              </a:spcAft>
              <a:buNone/>
            </a:pPr>
            <a:r>
              <a:rPr lang="en-GB" sz="1000" b="1" i="0" u="none" strike="noStrike" kern="1200" noProof="1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referencePeriodStart</a:t>
            </a:r>
            <a:endParaRPr lang="en-GB" sz="1800" b="0" i="0" u="none" strike="noStrike" noProof="1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Aft>
                <a:spcPts val="100"/>
              </a:spcAft>
              <a:buNone/>
            </a:pPr>
            <a:r>
              <a:rPr lang="en-GB" sz="1000" b="1" i="0" u="none" strike="noStrike" kern="1200" noProof="1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referencePeriodEnd</a:t>
            </a:r>
            <a:endParaRPr lang="en-GB" sz="1800" b="0" i="0" u="none" strike="noStrike" noProof="1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Aft>
                <a:spcPts val="100"/>
              </a:spcAft>
              <a:buNone/>
            </a:pPr>
            <a:r>
              <a:rPr lang="en-GB" sz="1000" b="1" i="0" u="none" strike="noStrike" kern="1200" noProof="1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created</a:t>
            </a:r>
            <a:endParaRPr lang="en-GB" sz="1800" b="0" i="0" u="none" strike="noStrike" noProof="1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Aft>
                <a:spcPts val="100"/>
              </a:spcAft>
              <a:buNone/>
            </a:pPr>
            <a:r>
              <a:rPr lang="en-GB" sz="1000" b="0" i="0" u="none" strike="noStrike" kern="1200" noProof="1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validityPeriodStart</a:t>
            </a:r>
            <a:endParaRPr lang="en-GB" sz="1800" b="0" i="0" u="none" strike="noStrike" noProof="1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Aft>
                <a:spcPts val="100"/>
              </a:spcAft>
            </a:pPr>
            <a:r>
              <a:rPr lang="en-GB" sz="1000" b="1" i="0" u="none" strike="noStrike" kern="1200" noProof="1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validityPeriodEnd</a:t>
            </a:r>
            <a:endParaRPr lang="en-GB" sz="1800" b="0" i="0" u="none" strike="noStrike" noProof="1">
              <a:effectLst/>
              <a:latin typeface="Arial" panose="020B0604020202020204" pitchFamily="34" charset="0"/>
            </a:endParaRPr>
          </a:p>
        </p:txBody>
      </p:sp>
      <p:sp>
        <p:nvSpPr>
          <p:cNvPr id="630" name="Flowchart: Process 629">
            <a:extLst>
              <a:ext uri="{FF2B5EF4-FFF2-40B4-BE49-F238E27FC236}">
                <a16:creationId xmlns:a16="http://schemas.microsoft.com/office/drawing/2014/main" id="{69A6614E-948D-0952-FBD8-12B7DE58C230}"/>
              </a:ext>
            </a:extLst>
          </p:cNvPr>
          <p:cNvSpPr/>
          <p:nvPr>
            <p:custDataLst>
              <p:tags r:id="rId44"/>
            </p:custDataLst>
          </p:nvPr>
        </p:nvSpPr>
        <p:spPr>
          <a:xfrm>
            <a:off x="7013389" y="8800552"/>
            <a:ext cx="1786374" cy="393304"/>
          </a:xfrm>
          <a:prstGeom prst="flowChartProcess">
            <a:avLst/>
          </a:prstGeom>
          <a:solidFill>
            <a:schemeClr val="bg1"/>
          </a:solidFill>
          <a:ln w="1905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spAutoFit/>
          </a:bodyPr>
          <a:lstStyle/>
          <a:p>
            <a:pPr marL="0" algn="l" rtl="0" eaLnBrk="1" fontAlgn="t" latinLnBrk="0" hangingPunct="1">
              <a:spcAft>
                <a:spcPts val="100"/>
              </a:spcAft>
              <a:buNone/>
            </a:pPr>
            <a:r>
              <a:rPr lang="en-GB" sz="1000" b="1" i="0" u="none" strike="noStrike" kern="1200" noProof="1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crossSectoralStandards</a:t>
            </a:r>
            <a:endParaRPr lang="en-GB" sz="1800" b="0" i="0" u="none" strike="noStrike" noProof="1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Aft>
                <a:spcPts val="100"/>
              </a:spcAft>
            </a:pPr>
            <a:r>
              <a:rPr lang="en-GB" sz="1000" b="1" i="0" u="none" strike="noStrike" kern="1200" noProof="1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productOrSectorSpecificRules</a:t>
            </a:r>
            <a:endParaRPr lang="en-GB" sz="1800" b="0" i="0" u="none" strike="noStrike" noProof="1">
              <a:effectLst/>
              <a:latin typeface="Arial" panose="020B0604020202020204" pitchFamily="34" charset="0"/>
            </a:endParaRPr>
          </a:p>
        </p:txBody>
      </p:sp>
      <p:sp>
        <p:nvSpPr>
          <p:cNvPr id="633" name="Flowchart: Process 632">
            <a:extLst>
              <a:ext uri="{FF2B5EF4-FFF2-40B4-BE49-F238E27FC236}">
                <a16:creationId xmlns:a16="http://schemas.microsoft.com/office/drawing/2014/main" id="{CCE40730-D1DB-5855-3804-6B8CC49C1EE3}"/>
              </a:ext>
            </a:extLst>
          </p:cNvPr>
          <p:cNvSpPr/>
          <p:nvPr>
            <p:custDataLst>
              <p:tags r:id="rId45"/>
            </p:custDataLst>
          </p:nvPr>
        </p:nvSpPr>
        <p:spPr>
          <a:xfrm>
            <a:off x="9400191" y="8800552"/>
            <a:ext cx="2190288" cy="226591"/>
          </a:xfrm>
          <a:prstGeom prst="flowChartProcess">
            <a:avLst/>
          </a:prstGeom>
          <a:solidFill>
            <a:schemeClr val="bg1"/>
          </a:solidFill>
          <a:ln w="1905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spAutoFit/>
          </a:bodyPr>
          <a:lstStyle/>
          <a:p>
            <a:pPr fontAlgn="t">
              <a:spcAft>
                <a:spcPts val="100"/>
              </a:spcAft>
            </a:pPr>
            <a:r>
              <a:rPr lang="en-GB" sz="1000" b="1" noProof="1">
                <a:solidFill>
                  <a:srgbClr val="000000"/>
                </a:solidFill>
                <a:latin typeface="Aptos Narrow" panose="020B0004020202020204" pitchFamily="34" charset="0"/>
              </a:rPr>
              <a:t>ipccCharacterizationFactors</a:t>
            </a:r>
            <a:endParaRPr lang="en-GB" sz="1800" b="0" i="0" u="none" strike="noStrike" noProof="1">
              <a:effectLst/>
              <a:latin typeface="Arial" panose="020B0604020202020204" pitchFamily="34" charset="0"/>
            </a:endParaRPr>
          </a:p>
        </p:txBody>
      </p:sp>
      <p:sp>
        <p:nvSpPr>
          <p:cNvPr id="637" name="Flowchart: Process 636">
            <a:extLst>
              <a:ext uri="{FF2B5EF4-FFF2-40B4-BE49-F238E27FC236}">
                <a16:creationId xmlns:a16="http://schemas.microsoft.com/office/drawing/2014/main" id="{68C0852A-5A19-D90A-030E-0C38B6656142}"/>
              </a:ext>
            </a:extLst>
          </p:cNvPr>
          <p:cNvSpPr/>
          <p:nvPr>
            <p:custDataLst>
              <p:tags r:id="rId46"/>
            </p:custDataLst>
          </p:nvPr>
        </p:nvSpPr>
        <p:spPr>
          <a:xfrm>
            <a:off x="11894526" y="8800552"/>
            <a:ext cx="2247812" cy="560016"/>
          </a:xfrm>
          <a:prstGeom prst="flowChartProcess">
            <a:avLst/>
          </a:prstGeom>
          <a:solidFill>
            <a:schemeClr val="bg1"/>
          </a:solidFill>
          <a:ln w="1905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spAutoFit/>
          </a:bodyPr>
          <a:lstStyle/>
          <a:p>
            <a:pPr marL="0" algn="l" rtl="0" eaLnBrk="1" fontAlgn="t" latinLnBrk="0" hangingPunct="1">
              <a:spcAft>
                <a:spcPts val="100"/>
              </a:spcAft>
              <a:buNone/>
            </a:pPr>
            <a:r>
              <a:rPr lang="en-GB" sz="1000" b="0" i="0" u="none" strike="noStrike" kern="1200" noProof="1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allocationRulesDescription</a:t>
            </a:r>
            <a:endParaRPr lang="en-GB" sz="1800" b="0" i="0" u="none" strike="noStrike" noProof="1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Aft>
                <a:spcPts val="100"/>
              </a:spcAft>
              <a:buNone/>
            </a:pPr>
            <a:r>
              <a:rPr lang="en-GB" sz="1000" b="1" i="0" u="none" strike="noStrike" kern="1200" noProof="1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allocationWasteIncineration</a:t>
            </a:r>
            <a:endParaRPr lang="en-GB" sz="1800" b="0" i="0" u="none" strike="noStrike" noProof="1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Aft>
                <a:spcPts val="100"/>
              </a:spcAft>
            </a:pPr>
            <a:r>
              <a:rPr lang="en-GB" sz="1000" b="0" i="0" u="none" strike="noStrike" kern="1200" noProof="1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allocationRecycledCarbon</a:t>
            </a:r>
            <a:endParaRPr lang="en-GB" sz="1000" noProof="1">
              <a:solidFill>
                <a:srgbClr val="000000"/>
              </a:solidFill>
              <a:latin typeface="Aptos Narrow" panose="020B0004020202020204" pitchFamily="34" charset="0"/>
            </a:endParaRPr>
          </a:p>
        </p:txBody>
      </p:sp>
      <p:sp>
        <p:nvSpPr>
          <p:cNvPr id="639" name="Flowchart: Process 638">
            <a:extLst>
              <a:ext uri="{FF2B5EF4-FFF2-40B4-BE49-F238E27FC236}">
                <a16:creationId xmlns:a16="http://schemas.microsoft.com/office/drawing/2014/main" id="{95205C7B-E1A6-0B75-B0F5-B339ECCFDEE1}"/>
              </a:ext>
            </a:extLst>
          </p:cNvPr>
          <p:cNvSpPr/>
          <p:nvPr>
            <p:custDataLst>
              <p:tags r:id="rId47"/>
            </p:custDataLst>
          </p:nvPr>
        </p:nvSpPr>
        <p:spPr>
          <a:xfrm>
            <a:off x="14425816" y="8800552"/>
            <a:ext cx="1995284" cy="560016"/>
          </a:xfrm>
          <a:prstGeom prst="flowChartProcess">
            <a:avLst/>
          </a:prstGeom>
          <a:solidFill>
            <a:schemeClr val="bg1"/>
          </a:solidFill>
          <a:ln w="1905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spAutoFit/>
          </a:bodyPr>
          <a:lstStyle/>
          <a:p>
            <a:pPr marL="0" algn="l" rtl="0" eaLnBrk="1" fontAlgn="t" latinLnBrk="0" hangingPunct="1">
              <a:spcAft>
                <a:spcPts val="100"/>
              </a:spcAft>
              <a:buNone/>
            </a:pPr>
            <a:r>
              <a:rPr lang="en-GB" sz="1000" b="1" i="0" u="none" strike="noStrike" kern="1200" noProof="1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massBalancingUsed</a:t>
            </a:r>
            <a:endParaRPr lang="en-GB" sz="1800" b="0" i="0" u="none" strike="noStrike" noProof="1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Aft>
                <a:spcPts val="100"/>
              </a:spcAft>
              <a:buNone/>
            </a:pPr>
            <a:r>
              <a:rPr lang="en-GB" sz="1000" b="1" i="0" u="none" strike="noStrike" kern="1200" noProof="1">
                <a:solidFill>
                  <a:srgbClr val="4D93D9"/>
                </a:solidFill>
                <a:effectLst/>
                <a:latin typeface="Aptos Narrow" panose="020B0004020202020204" pitchFamily="34" charset="0"/>
              </a:rPr>
              <a:t>freeAttributionInMassBalancing</a:t>
            </a:r>
            <a:endParaRPr lang="en-GB" sz="1800" b="0" i="0" u="none" strike="noStrike" noProof="1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Aft>
                <a:spcPts val="100"/>
              </a:spcAft>
            </a:pPr>
            <a:r>
              <a:rPr lang="en-GB" sz="1000" b="1" i="0" u="none" strike="noStrike" kern="1200" noProof="1">
                <a:solidFill>
                  <a:srgbClr val="4D93D9"/>
                </a:solidFill>
                <a:effectLst/>
                <a:latin typeface="Aptos Narrow" panose="020B0004020202020204" pitchFamily="34" charset="0"/>
              </a:rPr>
              <a:t>massBalancingCertificateScheme</a:t>
            </a:r>
            <a:endParaRPr lang="en-GB" sz="1800" b="0" i="0" u="none" strike="noStrike" noProof="1">
              <a:effectLst/>
              <a:latin typeface="Arial" panose="020B0604020202020204" pitchFamily="34" charset="0"/>
            </a:endParaRPr>
          </a:p>
        </p:txBody>
      </p:sp>
      <p:cxnSp>
        <p:nvCxnSpPr>
          <p:cNvPr id="654" name="Straight Arrow Connector 653">
            <a:extLst>
              <a:ext uri="{FF2B5EF4-FFF2-40B4-BE49-F238E27FC236}">
                <a16:creationId xmlns:a16="http://schemas.microsoft.com/office/drawing/2014/main" id="{E84BCF48-5918-FA82-9DA1-535C22AFDC88}"/>
              </a:ext>
            </a:extLst>
          </p:cNvPr>
          <p:cNvCxnSpPr>
            <a:cxnSpLocks/>
            <a:stCxn id="127" idx="2"/>
            <a:endCxn id="589" idx="0"/>
          </p:cNvCxnSpPr>
          <p:nvPr/>
        </p:nvCxnSpPr>
        <p:spPr>
          <a:xfrm>
            <a:off x="1019820" y="7993202"/>
            <a:ext cx="497" cy="28469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4" name="Straight Arrow Connector 663">
            <a:extLst>
              <a:ext uri="{FF2B5EF4-FFF2-40B4-BE49-F238E27FC236}">
                <a16:creationId xmlns:a16="http://schemas.microsoft.com/office/drawing/2014/main" id="{DC6C128D-B1D7-1EC2-2456-B9B0057578AA}"/>
              </a:ext>
            </a:extLst>
          </p:cNvPr>
          <p:cNvCxnSpPr>
            <a:stCxn id="128" idx="2"/>
            <a:endCxn id="592" idx="0"/>
          </p:cNvCxnSpPr>
          <p:nvPr/>
        </p:nvCxnSpPr>
        <p:spPr>
          <a:xfrm>
            <a:off x="2136021" y="6396552"/>
            <a:ext cx="0" cy="25365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6" name="Straight Arrow Connector 665">
            <a:extLst>
              <a:ext uri="{FF2B5EF4-FFF2-40B4-BE49-F238E27FC236}">
                <a16:creationId xmlns:a16="http://schemas.microsoft.com/office/drawing/2014/main" id="{87E8B08D-F801-7CAF-2C0F-8B9EC06F6059}"/>
              </a:ext>
            </a:extLst>
          </p:cNvPr>
          <p:cNvCxnSpPr>
            <a:stCxn id="129" idx="2"/>
            <a:endCxn id="599" idx="0"/>
          </p:cNvCxnSpPr>
          <p:nvPr/>
        </p:nvCxnSpPr>
        <p:spPr>
          <a:xfrm>
            <a:off x="3228938" y="7993202"/>
            <a:ext cx="0" cy="29073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0" name="Straight Arrow Connector 669">
            <a:extLst>
              <a:ext uri="{FF2B5EF4-FFF2-40B4-BE49-F238E27FC236}">
                <a16:creationId xmlns:a16="http://schemas.microsoft.com/office/drawing/2014/main" id="{006CFCE1-31C6-714F-3AD7-6F0F92C43604}"/>
              </a:ext>
            </a:extLst>
          </p:cNvPr>
          <p:cNvCxnSpPr>
            <a:cxnSpLocks/>
            <a:stCxn id="130" idx="2"/>
            <a:endCxn id="605" idx="0"/>
          </p:cNvCxnSpPr>
          <p:nvPr/>
        </p:nvCxnSpPr>
        <p:spPr>
          <a:xfrm flipH="1">
            <a:off x="4325684" y="6396552"/>
            <a:ext cx="4239" cy="25365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5" name="Straight Arrow Connector 674">
            <a:extLst>
              <a:ext uri="{FF2B5EF4-FFF2-40B4-BE49-F238E27FC236}">
                <a16:creationId xmlns:a16="http://schemas.microsoft.com/office/drawing/2014/main" id="{1D8FCCB7-89B6-F463-B414-C3B420EE14A4}"/>
              </a:ext>
            </a:extLst>
          </p:cNvPr>
          <p:cNvCxnSpPr>
            <a:cxnSpLocks/>
            <a:stCxn id="131" idx="2"/>
            <a:endCxn id="610" idx="0"/>
          </p:cNvCxnSpPr>
          <p:nvPr/>
        </p:nvCxnSpPr>
        <p:spPr>
          <a:xfrm>
            <a:off x="6127648" y="6396552"/>
            <a:ext cx="0" cy="25365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0" name="Straight Arrow Connector 689">
            <a:extLst>
              <a:ext uri="{FF2B5EF4-FFF2-40B4-BE49-F238E27FC236}">
                <a16:creationId xmlns:a16="http://schemas.microsoft.com/office/drawing/2014/main" id="{371B8D86-71F3-CE35-3EBC-C6A89567C83E}"/>
              </a:ext>
            </a:extLst>
          </p:cNvPr>
          <p:cNvCxnSpPr>
            <a:stCxn id="133" idx="2"/>
            <a:endCxn id="630" idx="0"/>
          </p:cNvCxnSpPr>
          <p:nvPr/>
        </p:nvCxnSpPr>
        <p:spPr>
          <a:xfrm>
            <a:off x="7896931" y="8577809"/>
            <a:ext cx="9645" cy="22274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2" name="Straight Arrow Connector 691">
            <a:extLst>
              <a:ext uri="{FF2B5EF4-FFF2-40B4-BE49-F238E27FC236}">
                <a16:creationId xmlns:a16="http://schemas.microsoft.com/office/drawing/2014/main" id="{E05616A8-3F1F-A585-9DE3-A1577DB513B5}"/>
              </a:ext>
            </a:extLst>
          </p:cNvPr>
          <p:cNvCxnSpPr>
            <a:cxnSpLocks/>
            <a:stCxn id="134" idx="2"/>
            <a:endCxn id="633" idx="0"/>
          </p:cNvCxnSpPr>
          <p:nvPr/>
        </p:nvCxnSpPr>
        <p:spPr>
          <a:xfrm>
            <a:off x="10495335" y="8577809"/>
            <a:ext cx="0" cy="22274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5" name="Straight Arrow Connector 694">
            <a:extLst>
              <a:ext uri="{FF2B5EF4-FFF2-40B4-BE49-F238E27FC236}">
                <a16:creationId xmlns:a16="http://schemas.microsoft.com/office/drawing/2014/main" id="{6BF996BA-7D64-CDC6-1040-C81B0C287C90}"/>
              </a:ext>
            </a:extLst>
          </p:cNvPr>
          <p:cNvCxnSpPr>
            <a:cxnSpLocks/>
            <a:stCxn id="135" idx="2"/>
            <a:endCxn id="637" idx="0"/>
          </p:cNvCxnSpPr>
          <p:nvPr/>
        </p:nvCxnSpPr>
        <p:spPr>
          <a:xfrm>
            <a:off x="13008148" y="8577809"/>
            <a:ext cx="10284" cy="22274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9" name="Straight Arrow Connector 698">
            <a:extLst>
              <a:ext uri="{FF2B5EF4-FFF2-40B4-BE49-F238E27FC236}">
                <a16:creationId xmlns:a16="http://schemas.microsoft.com/office/drawing/2014/main" id="{775BB32C-1DCC-31E3-429A-FA089488AD6E}"/>
              </a:ext>
            </a:extLst>
          </p:cNvPr>
          <p:cNvCxnSpPr>
            <a:stCxn id="136" idx="2"/>
            <a:endCxn id="639" idx="0"/>
          </p:cNvCxnSpPr>
          <p:nvPr/>
        </p:nvCxnSpPr>
        <p:spPr>
          <a:xfrm>
            <a:off x="15417108" y="8577809"/>
            <a:ext cx="6350" cy="22274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46" name="Flowchart: Process 745">
            <a:extLst>
              <a:ext uri="{FF2B5EF4-FFF2-40B4-BE49-F238E27FC236}">
                <a16:creationId xmlns:a16="http://schemas.microsoft.com/office/drawing/2014/main" id="{5329E07D-ADA2-C971-FDF6-D99416AC5E43}"/>
              </a:ext>
            </a:extLst>
          </p:cNvPr>
          <p:cNvSpPr/>
          <p:nvPr>
            <p:custDataLst>
              <p:tags r:id="rId48"/>
            </p:custDataLst>
          </p:nvPr>
        </p:nvSpPr>
        <p:spPr>
          <a:xfrm>
            <a:off x="877440" y="138849"/>
            <a:ext cx="2002039" cy="560016"/>
          </a:xfrm>
          <a:prstGeom prst="flowChartProcess">
            <a:avLst/>
          </a:prstGeom>
          <a:solidFill>
            <a:schemeClr val="bg1"/>
          </a:solidFill>
          <a:ln w="9525">
            <a:solidFill>
              <a:schemeClr val="tx2">
                <a:lumMod val="90000"/>
                <a:lumOff val="1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4000" tIns="36000" rIns="36000" bIns="36000" numCol="1" spcCol="1270" anchor="ctr" anchorCtr="0">
            <a:spAutoFit/>
          </a:bodyPr>
          <a:lstStyle/>
          <a:p>
            <a:pPr defTabSz="533400">
              <a:spcBef>
                <a:spcPct val="0"/>
              </a:spcBef>
              <a:spcAft>
                <a:spcPts val="100"/>
              </a:spcAft>
            </a:pPr>
            <a:r>
              <a:rPr lang="en-GB" sz="1000" b="1" noProof="1">
                <a:solidFill>
                  <a:schemeClr val="tx1"/>
                </a:solidFill>
                <a:latin typeface="Aptos Narrow" panose="020B0004020202020204" pitchFamily="34" charset="0"/>
              </a:rPr>
              <a:t>Bold text = mandatory</a:t>
            </a:r>
          </a:p>
          <a:p>
            <a:pPr defTabSz="533400">
              <a:spcBef>
                <a:spcPct val="0"/>
              </a:spcBef>
              <a:spcAft>
                <a:spcPts val="100"/>
              </a:spcAft>
            </a:pPr>
            <a:r>
              <a:rPr lang="en-GB" sz="1000" noProof="1">
                <a:solidFill>
                  <a:schemeClr val="tx1"/>
                </a:solidFill>
                <a:latin typeface="Aptos Narrow" panose="020B0004020202020204" pitchFamily="34" charset="0"/>
              </a:rPr>
              <a:t>Normal text = optional</a:t>
            </a:r>
            <a:r>
              <a:rPr lang="en-GB" sz="1000" b="1" noProof="1">
                <a:solidFill>
                  <a:schemeClr val="tx1"/>
                </a:solidFill>
                <a:latin typeface="Aptos Narrow" panose="020B0004020202020204" pitchFamily="34" charset="0"/>
              </a:rPr>
              <a:t> </a:t>
            </a:r>
          </a:p>
          <a:p>
            <a:pPr defTabSz="533400">
              <a:spcBef>
                <a:spcPct val="0"/>
              </a:spcBef>
              <a:spcAft>
                <a:spcPts val="100"/>
              </a:spcAft>
            </a:pPr>
            <a:r>
              <a:rPr lang="en-GB" sz="1000" b="1" noProof="1">
                <a:solidFill>
                  <a:srgbClr val="00B050"/>
                </a:solidFill>
                <a:latin typeface="Aptos Narrow" panose="020B0004020202020204" pitchFamily="34" charset="0"/>
              </a:rPr>
              <a:t>Green bold = default vvalue</a:t>
            </a:r>
            <a:endParaRPr lang="en-GB" sz="1000" noProof="1">
              <a:solidFill>
                <a:schemeClr val="tx1"/>
              </a:solidFill>
              <a:latin typeface="Aptos Narrow" panose="020B0004020202020204" pitchFamily="34" charset="0"/>
            </a:endParaRPr>
          </a:p>
        </p:txBody>
      </p:sp>
      <p:sp>
        <p:nvSpPr>
          <p:cNvPr id="747" name="Flowchart: Process 746">
            <a:extLst>
              <a:ext uri="{FF2B5EF4-FFF2-40B4-BE49-F238E27FC236}">
                <a16:creationId xmlns:a16="http://schemas.microsoft.com/office/drawing/2014/main" id="{1AA471DC-78D7-A56F-6FD4-BFC87EA0D8AA}"/>
              </a:ext>
            </a:extLst>
          </p:cNvPr>
          <p:cNvSpPr/>
          <p:nvPr>
            <p:custDataLst>
              <p:tags r:id="rId49"/>
            </p:custDataLst>
          </p:nvPr>
        </p:nvSpPr>
        <p:spPr>
          <a:xfrm>
            <a:off x="3017284" y="138849"/>
            <a:ext cx="2307710" cy="560016"/>
          </a:xfrm>
          <a:prstGeom prst="flowChartProcess">
            <a:avLst/>
          </a:prstGeom>
          <a:solidFill>
            <a:schemeClr val="bg1"/>
          </a:solidFill>
          <a:ln w="9525">
            <a:solidFill>
              <a:schemeClr val="tx2">
                <a:lumMod val="90000"/>
                <a:lumOff val="1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4000" tIns="36000" rIns="36000" bIns="36000" numCol="1" spcCol="1270" anchor="ctr" anchorCtr="0">
            <a:spAutoFit/>
          </a:bodyPr>
          <a:lstStyle/>
          <a:p>
            <a:pPr defTabSz="533400">
              <a:spcBef>
                <a:spcPct val="0"/>
              </a:spcBef>
              <a:spcAft>
                <a:spcPts val="100"/>
              </a:spcAft>
            </a:pPr>
            <a:r>
              <a:rPr lang="en-GB" sz="1000" b="1" noProof="1">
                <a:solidFill>
                  <a:schemeClr val="accent2"/>
                </a:solidFill>
                <a:latin typeface="Aptos Narrow" panose="020B0004020202020204" pitchFamily="34" charset="0"/>
              </a:rPr>
              <a:t>Bold orange = mandatory in 2027</a:t>
            </a:r>
          </a:p>
          <a:p>
            <a:pPr defTabSz="533400">
              <a:spcBef>
                <a:spcPct val="0"/>
              </a:spcBef>
              <a:spcAft>
                <a:spcPts val="100"/>
              </a:spcAft>
            </a:pPr>
            <a:r>
              <a:rPr lang="en-GB" sz="1000" b="1" noProof="1">
                <a:solidFill>
                  <a:schemeClr val="tx2">
                    <a:lumMod val="50000"/>
                    <a:lumOff val="50000"/>
                  </a:schemeClr>
                </a:solidFill>
                <a:latin typeface="Aptos Narrow" panose="020B0004020202020204" pitchFamily="34" charset="0"/>
              </a:rPr>
              <a:t>Bold blue = mandatory if</a:t>
            </a:r>
          </a:p>
          <a:p>
            <a:pPr defTabSz="533400">
              <a:spcBef>
                <a:spcPct val="0"/>
              </a:spcBef>
              <a:spcAft>
                <a:spcPts val="100"/>
              </a:spcAft>
            </a:pPr>
            <a:r>
              <a:rPr lang="en-GB" sz="1000" noProof="1">
                <a:solidFill>
                  <a:schemeClr val="tx2">
                    <a:lumMod val="50000"/>
                    <a:lumOff val="50000"/>
                  </a:schemeClr>
                </a:solidFill>
                <a:latin typeface="Aptos Narrow" panose="020B0004020202020204" pitchFamily="34" charset="0"/>
              </a:rPr>
              <a:t>Normal blue = optional if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30938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AUTHORING_SESSION_ID" val="610991a5-908d-4fe1-b083-f0af91c72132"/>
  <p:tag name="UNDO_REDO_REVISION" val="6"/>
  <p:tag name="EMPOWERCHARTSPROPERTIES_A_0" val="AAAAAAH//////////wEAAAAAAAAAAAAAACoqIFRoaXMgaXMgYSBMaXRlREIgZmlsZSAqKgcc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D/////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/////wQADwwAAAAAAAAAAAAAIAD///////////////8AAAD///////////////8DAAAAAgD///////8DAAAAAg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1hJtwSYPA5MkFBvX0HknUYEAAAAAAADAAAAAAADAAAAAwADAAAAAAADAAAAAwADAAUA////////BQAAAAMAEAALL0sOUR7GJUWNCkObQPmmtQQAAAABAAMAAAACAAMAAAABAAMAAAACAP///////wMAAAAAAP///////wMAAAAAAP///////w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//////////8CABIGAAAAAAAAAAAAAP//////CP8IAAAFX2lkABAAAAAEWEm3BJg8DkyQUG9fQeSdRgNEYXRhAJcIAAAETGlua2VkU2hhcGVEYXRhAIEIAAADMAA7BAAAEFNoYXBlSWQADQEAABBTbGlkZUlkAAABAAACU2hhcGVUeXBlAAYAAABTaGFwZQADU2xpZGVTaXplAC4AAAAISXNFbXB0eQAAAVdpZHRoAAAAAAAAAJVAAUhlaWdodAAAAAAAAKCHQAADU2hhcGVCb3VuZHMAbwEAAAFYAAAAAIC5jFNAAVkAAAAAACdccEABV2lkdGgAAAAAQIH7XEABSGVpZ2h0AAAAAIAE+D5AAUxlZnQAAAAAgLmMU0ABVG9wAAAAAAAnXHBAAVJpZ2h0AAAAAGAdRGhAAUJvdHRvbQAAAABIp0tyQANUb3BMZWZ0ABsAAAABWAAAAACAuYxTQAFZAAAAAAAnXHBAAANUb3BSaWdodAAbAAAAAVgAAAAAYB1EaEABWQAAAAAAJ1xwQAADQm90dG9tTGVmdAAbAAAAAVgAAAAAgLmMU0ABWQAAAABIp0tyQAADQm90dG9tUmlnaHQAGwAAAAFYAAAAAGAdRGhAAVkAAAAASKdLckAAA1NpemUALgAAAAhJc0VtcHR5AAABV2lkdGgAAAAAQIH7XEABSGVpZ2h0AAAAAIAE+D5AAANMb2NhdGlvbgAbAAAAAVgAAAAAgLmMU0ABWQAAAAAAJ1xwQAAISXNFbXB0eQAAAANUZXh0UG9zaXRpb24AGwAAAAFYAAAAAAAAAAAAAVkAAAAAAAAAAAAAA1RleHRTaXplAC4AAAAISXNFbXB0eQAAAVdpZHRoAAAAAAAAAAAAAUhlaWdodAAAAAAAAAAAAAADTGlua0RhdGEA5wEAAAVSZXZlcnNlRGF0YUxpbmtJZAAQAAAABE/W1N+nRbZOlgT4BuTH75sQTGlua0luZGV4AAEAAAAISXNMaW5rZWQAAQJMaW5rVHlwZQAFAAAARmlsZQACRmlsZW5hbWUAOQAAAEM6XFVzZXJzXEZpc2NoQTUwXERvd25sb2Fkc1xUZXN0IC0gUHJlcCBmb3IgUENGIEtJVC54bHN4AAJSYW5nZURlZmluaXRpb24AEAAAAD0nRGlhZ3JhbSchJEMkNgACTmFtZWRSYW5nZURlZmluaXRpb24AKAAAAGVtcENETF8zNjM5OGVmMTc2YjI0ZjUxODgwMWY3ZTQ3MDVkN2U1OAACVGFibGVSYW5nZURlZmluaXRpb24AAQAAAAAIQXV0b1VwZGF0ZQAAAkRlc2NyaXB0aW9uAAwAAABjb21wYW55TmFtZQASTGFzdE1vZGlmaWVkT25MYXN0UmVmcmVzaFV0Y1RpY2tzAAAAAAAAAAAAEkxhc3RTdWNjZXNzZnVsVXBkYXRlVXRjVGlja3MAHTypxFvd3QgERGF0YVRyYW5zZm9ybWF0aW9ucwAFAAAAAAhJc0R5bmFtaWNNb2RlQWN0aXZlAAAISXNEeW5hbWljTW9kZVN1cHBvcnRlZAAAAAADMQA7BAAAEFNoYXBlSWQADwEAABBTbGlkZUlkAAABAAACU2hhcGVUeXBlAAYAAABTaGFwZQADU2xpZGVTaXplAC4AAAAISXNFbXB0eQAAAVdpZHRoAAAAAAAAAJVAAUhlaWdodAAAAAAAAKCHQAADU2hhcGVCb3VuZHMAbwEAAAFYAAAAAEA972lAAVkAAAAAYMYJcEABV2lkdGgAAAAAwBnPYEABSGVpZ2h0AAAAAICgJlhAAUxlZnQAAAAAQD3vaUABVG9wAAAAAGDGCXBAAVJpZ2h0AAAAAIArX3VAAUJvdHRvbQAAAACAbhN2QANUb3BMZWZ0ABsAAAABWAAAAABAPe9pQAFZAAAAAGDGCXBAAANUb3BSaWdodAAbAAAAAVgAAAAAgCtfdUABWQAAAABgxglwQAADQm90dG9tTGVmdAAbAAAAAVgAAAAAQD3vaUABWQAAAACAbhN2QAADQm90dG9tUmlnaHQAGwAAAAFYAAAAAIArX3VAAVkAAAAAgG4TdkAAA1NpemUALgAAAAhJc0VtcHR5AAABV2lkdGgAAAAAwBnPYEABSGVpZ2h0AAAAAICgJlhAAANMb2NhdGlvbgAbAAAAAVgAAAAAQD3vaUABWQAAAABgxglwQAAISXNFbXB0eQAAAANUZXh0UG9zaXRpb24AGwAAAAFYAAAAAAAAAAAAAVkAAAAAAAAAAAAAA1RleHRTaXplAC4AAAAISXNFbXB0eQAAAVdpZHRoAAAAAAAAAAAAAUhlaWdodAAAAAAAAAAAAAADTGlua0RhdGEA5wEAAAVSZXZlcnNlRGF0YUxpbmtJZAAQAAAABE/W1N+nRbZOlgT4BuTH75sQTGlua0luZGV4AAEAAAAISXNMaW5rZWQAAQJMaW5rVHlwZQAFAAAARmlsZQACRmlsZW5hbWUAOQAAAEM6XFVzZXJzXEZpc2NoQTUwXERvd25sb2Fkc1xUZXN0IC0gUHJlcCBmb3IgUENGIEtJVC54bHN4AAJSYW5nZURlZmluaXRpb24AEAAAAD0nRGlhZ3JhbSchJEMkNgACTmFtZWRSYW5nZURlZmluaXRpb24AKAAAAGVtcENETF8zNjM5OGVmMTc2YjI0ZjUxODgwMWY3ZTQ3MDVkN2U1OAACVGFibGVSYW5nZURlZmluaXRpb24AAQAAAAAIQXV0b1VwZGF0ZQAAAkRlc2NyaXB0aW9uAAwAAABjb21wYW55TmFtZQASTGFzdE1vZGlmaWVkT25MYXN0UmVmcmVzaFV0Y1RpY2tzAAAAAAAAAAAAEkxhc3RTdWNjZXNzZnVsVXBkYXRlVXRjVGlja3MAHTypxFvd3QgERGF0YVRyYW5zZm9ybWF0aW9ucwAFAAAAAAhJc0R5bmFtaWNNb2RlQWN0aXZlAAAISXNEeW5hbWljTW9kZVN1cHBvcnRlZAAAAAAAAAJOYW1lABkAAABMaW5rZWRTaGFwZXNEYXRhUHJvcGVydHkAEFZlcnNpb24AAQAAAAlMYXN0V3JpdGUArUkvt5gBAAAAAQD/////xgDGAAAABV9pZAAQAAAABC9LDlEexiVFjQpDm0D5prUDRGF0YQBTAAAACFByZXNlbnRhdGlvblNjYW5uZWRGb3JMaW5rZWRTaGFwZXMAAAJOdW1iZXJGb3JtYXRTZXBhcmF0b3JNb2RlAAoAAABBdXRvbWF0aWMAAAJOYW1lACQAAABMaW5rZWRTaGFwZVByZXNlbnRhdGlvblNldHRpbmdzRGF0YQAQVmVyc2lvbgAAAAAACUxhc3RXcml0ZQDYVUWzm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AAUDAAAAAAAAAAAAAAgAf///////////////wAAAP////////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GgAGTGlua2VkU2hhcGVzRGF0YVByb3BlcnR5XzEEAAAAAAAFAAAAAwAFAAAAAQAFAAAAAwD///////8DAAIBAwAAAAMA////////JQAGTGlua2VkU2hhcGVQcmVzZW50YXRpb25TZXR0aW5nc0RhdGFfMAQAAAABAAUAAAAAAAUAAAACAAUAAAAAAAU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910167863802027"/>
  <p:tag name="EMPOWERCHARTSPROPERTIES_A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9cd53155-373c-4500-a9e0-f29c7d250fba"/>
  <p:tag name="8B6876B6CB5C43B8BAAFB73487DCACE6-0" val="&lt;Properties&gt;&#10;  &lt;Property Name=&quot;LinkDataList&quot; Version=&quot;1&quot;&gt;&#10;    &lt;data&gt;kA==&lt;/data&gt;&#10;    &lt;timestamp&gt;638910082573599991&lt;/timestamp&gt;&#10;  &lt;/Property&gt;&#10;  &lt;Property Name=&quot;PersonalId&quot; Version=&quot;0&quot;&gt;&#10;    &lt;data&gt;kaA=&lt;/data&gt;&#10;    &lt;timestamp&gt;638910082573684991&lt;/timestamp&gt;&#10;  &lt;/Property&gt;&#10;&lt;/Properties&gt;"/>
  <p:tag name="EMPOWER_CHARTS_DATA_ID" val="8B6876B6CB5C43B8BAAFB73487DCACE6"/>
  <p:tag name="EMPOWER_DATA_LAST_WRITE" val="63891008261448510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f4abc44c-ec42-4a29-a9c4-f93fa454a1c2"/>
  <p:tag name="160E617C18654B5F865992E1DB0B3CB6-0" val="&lt;Properties&gt;&#10;  &lt;Property Name=&quot;LinkDataList&quot; Version=&quot;1&quot;&gt;&#10;    &lt;data&gt;kA==&lt;/data&gt;&#10;    &lt;timestamp&gt;638910082573957130&lt;/timestamp&gt;&#10;  &lt;/Property&gt;&#10;  &lt;Property Name=&quot;PersonalId&quot; Version=&quot;0&quot;&gt;&#10;    &lt;data&gt;kaA=&lt;/data&gt;&#10;    &lt;timestamp&gt;638910082574001029&lt;/timestamp&gt;&#10;  &lt;/Property&gt;&#10;&lt;/Properties&gt;"/>
  <p:tag name="EMPOWER_CHARTS_DATA_ID" val="160E617C18654B5F865992E1DB0B3CB6"/>
  <p:tag name="EMPOWER_DATA_LAST_WRITE" val="63891008261452991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d4022b59-bec2-450f-a431-68b0f8941cbb"/>
  <p:tag name="315B8E3A9E444FF7B8C25C7F0AA103C5-0" val="&lt;Properties&gt;&#10;  &lt;Property Name=&quot;LinkDataList&quot; Version=&quot;1&quot;&gt;&#10;    &lt;data&gt;kA==&lt;/data&gt;&#10;    &lt;timestamp&gt;638910082574314678&lt;/timestamp&gt;&#10;  &lt;/Property&gt;&#10;  &lt;Property Name=&quot;PersonalId&quot; Version=&quot;0&quot;&gt;&#10;    &lt;data&gt;kaA=&lt;/data&gt;&#10;    &lt;timestamp&gt;638910082574352251&lt;/timestamp&gt;&#10;  &lt;/Property&gt;&#10;&lt;/Properties&gt;"/>
  <p:tag name="EMPOWER_CHARTS_DATA_ID" val="315B8E3A9E444FF7B8C25C7F0AA103C5"/>
  <p:tag name="EMPOWER_DATA_LAST_WRITE" val="638910082614573918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d46d5546-5a3a-4eea-93b9-76a82ddddb59"/>
  <p:tag name="B5AF470A46704990BCC7B97FC434D470-0" val="&lt;Properties&gt;&#10;  &lt;Property Name=&quot;LinkDataList&quot; Version=&quot;1&quot;&gt;&#10;    &lt;data&gt;kA==&lt;/data&gt;&#10;    &lt;timestamp&gt;638910082574631609&lt;/timestamp&gt;&#10;  &lt;/Property&gt;&#10;  &lt;Property Name=&quot;PersonalId&quot; Version=&quot;0&quot;&gt;&#10;    &lt;data&gt;kaA=&lt;/data&gt;&#10;    &lt;timestamp&gt;638910082574664544&lt;/timestamp&gt;&#10;  &lt;/Property&gt;&#10;&lt;/Properties&gt;"/>
  <p:tag name="EMPOWER_CHARTS_DATA_ID" val="B5AF470A46704990BCC7B97FC434D470"/>
  <p:tag name="EMPOWER_DATA_LAST_WRITE" val="63891008261459733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a226b2d0-fce7-42d6-b455-76497bc75c88"/>
  <p:tag name="FAF1945AC7B6445F932E69A4C49EF9C2-0" val="&lt;Properties&gt;&#10;  &lt;Property Name=&quot;LinkDataList&quot; Version=&quot;1&quot;&gt;&#10;    &lt;data&gt;kA==&lt;/data&gt;&#10;    &lt;timestamp&gt;638910082574951619&lt;/timestamp&gt;&#10;  &lt;/Property&gt;&#10;  &lt;Property Name=&quot;PersonalId&quot; Version=&quot;0&quot;&gt;&#10;    &lt;data&gt;kaA=&lt;/data&gt;&#10;    &lt;timestamp&gt;638910082574976536&lt;/timestamp&gt;&#10;  &lt;/Property&gt;&#10;&lt;/Properties&gt;"/>
  <p:tag name="EMPOWER_CHARTS_DATA_ID" val="FAF1945AC7B6445F932E69A4C49EF9C2"/>
  <p:tag name="EMPOWER_DATA_LAST_WRITE" val="63891008262573295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61f60fa7-29c4-46e2-b79d-37f169375135"/>
  <p:tag name="4B6F907734004FE0856442A7708DA4B2-0" val="&lt;Properties&gt;&#10;  &lt;Property Name=&quot;LinkDataList&quot; Version=&quot;1&quot;&gt;&#10;    &lt;data&gt;kA==&lt;/data&gt;&#10;    &lt;timestamp&gt;638910082424383573&lt;/timestamp&gt;&#10;  &lt;/Property&gt;&#10;  &lt;Property Name=&quot;PersonalId&quot; Version=&quot;0&quot;&gt;&#10;    &lt;data&gt;kaA=&lt;/data&gt;&#10;    &lt;timestamp&gt;638910082424436047&lt;/timestamp&gt;&#10;  &lt;/Property&gt;&#10;&lt;/Properties&gt;"/>
  <p:tag name="EMPOWER_CHARTS_DATA_ID" val="4B6F907734004FE0856442A7708DA4B2"/>
  <p:tag name="EMPOWER_DATA_LAST_WRITE" val="63891008243803235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7f84f7e5-6d5e-453d-a7e6-f408c5ba48bd"/>
  <p:tag name="5C87001F78484F1684A1E134C52EEE8B-0" val="&lt;Properties&gt;&#10;  &lt;Property Name=&quot;LinkDataList&quot; Version=&quot;1&quot;&gt;&#10;    &lt;data&gt;kA==&lt;/data&gt;&#10;    &lt;timestamp&gt;638910082575435443&lt;/timestamp&gt;&#10;  &lt;/Property&gt;&#10;  &lt;Property Name=&quot;PersonalId&quot; Version=&quot;0&quot;&gt;&#10;    &lt;data&gt;kaA=&lt;/data&gt;&#10;    &lt;timestamp&gt;638910082575478186&lt;/timestamp&gt;&#10;  &lt;/Property&gt;&#10;&lt;/Properties&gt;"/>
  <p:tag name="EMPOWER_CHARTS_DATA_ID" val="5C87001F78484F1684A1E134C52EEE8B"/>
  <p:tag name="EMPOWER_DATA_LAST_WRITE" val="638910082625754456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6e519046-f796-489d-9114-6d4a784f49ea"/>
  <p:tag name="2BE92FC8D89A492785BBBFB144DB20AE-0" val="&lt;Properties&gt;&#10;  &lt;Property Name=&quot;LinkDataList&quot; Version=&quot;1&quot;&gt;&#10;    &lt;data&gt;kA==&lt;/data&gt;&#10;    &lt;timestamp&gt;638910082575782715&lt;/timestamp&gt;&#10;  &lt;/Property&gt;&#10;  &lt;Property Name=&quot;PersonalId&quot; Version=&quot;0&quot;&gt;&#10;    &lt;data&gt;kaA=&lt;/data&gt;&#10;    &lt;timestamp&gt;638910082575873286&lt;/timestamp&gt;&#10;  &lt;/Property&gt;&#10;&lt;/Properties&gt;"/>
  <p:tag name="EMPOWER_CHARTS_DATA_ID" val="2BE92FC8D89A492785BBBFB144DB20AE"/>
  <p:tag name="EMPOWER_DATA_LAST_WRITE" val="63891008262577723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79bd3622-f1f8-42f3-b6c4-978aa89424af"/>
  <p:tag name="1CB2BC893DE040E9932BD22A53FCB762-0" val="&lt;Properties&gt;&#10;  &lt;Property Name=&quot;LinkDataList&quot; Version=&quot;1&quot;&gt;&#10;    &lt;data&gt;kA==&lt;/data&gt;&#10;    &lt;timestamp&gt;638910082576195731&lt;/timestamp&gt;&#10;  &lt;/Property&gt;&#10;  &lt;Property Name=&quot;PersonalId&quot; Version=&quot;0&quot;&gt;&#10;    &lt;data&gt;kaA=&lt;/data&gt;&#10;    &lt;timestamp&gt;638910082576261946&lt;/timestamp&gt;&#10;  &lt;/Property&gt;&#10;&lt;/Properties&gt;"/>
  <p:tag name="EMPOWER_CHARTS_DATA_ID" val="1CB2BC893DE040E9932BD22A53FCB762"/>
  <p:tag name="EMPOWER_DATA_LAST_WRITE" val="63891008262808337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bf901708-9303-4c05-b2b7-124997499490"/>
  <p:tag name="B35CF2AC6BE14A8BA3EC95AA91861B39-0" val="&lt;Properties&gt;&#10;  &lt;Property Name=&quot;LinkDataList&quot; Version=&quot;1&quot;&gt;&#10;    &lt;data&gt;kA==&lt;/data&gt;&#10;    &lt;timestamp&gt;638910082576517749&lt;/timestamp&gt;&#10;  &lt;/Property&gt;&#10;  &lt;Property Name=&quot;PersonalId&quot; Version=&quot;0&quot;&gt;&#10;    &lt;data&gt;kaA=&lt;/data&gt;&#10;    &lt;timestamp&gt;638910082576523511&lt;/timestamp&gt;&#10;  &lt;/Property&gt;&#10;&lt;/Properties&gt;"/>
  <p:tag name="EMPOWER_CHARTS_DATA_ID" val="B35CF2AC6BE14A8BA3EC95AA91861B39"/>
  <p:tag name="EMPOWER_DATA_LAST_WRITE" val="63891008262559706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ID_ON_LAST_LINK_INDEX_UPDATE" val="256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e7048c48-bfc2-453a-9689-b5bcb38228b7"/>
  <p:tag name="E692B019695E4608A7DB138B139922DC-0" val="&lt;Properties&gt;&#10;  &lt;Property Name=&quot;LinkDataList&quot; Version=&quot;1&quot;&gt;&#10;    &lt;data&gt;kA==&lt;/data&gt;&#10;    &lt;timestamp&gt;638910082433776253&lt;/timestamp&gt;&#10;  &lt;/Property&gt;&#10;  &lt;Property Name=&quot;PersonalId&quot; Version=&quot;0&quot;&gt;&#10;    &lt;data&gt;kaA=&lt;/data&gt;&#10;    &lt;timestamp&gt;638910082433790276&lt;/timestamp&gt;&#10;  &lt;/Property&gt;&#10;&lt;/Properties&gt;"/>
  <p:tag name="EMPOWER_CHARTS_DATA_ID" val="E692B019695E4608A7DB138B139922DC"/>
  <p:tag name="EMPOWER_DATA_LAST_WRITE" val="63891008244396432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54315f9b-25ad-4e89-baa0-f3f8248797b0"/>
  <p:tag name="66E534C397B1445E9F52E5B01811C6B7-0" val="&lt;Properties&gt;&#10;  &lt;Property Name=&quot;LinkDataList&quot; Version=&quot;1&quot;&gt;&#10;    &lt;data&gt;kA==&lt;/data&gt;&#10;    &lt;timestamp&gt;638910082577089930&lt;/timestamp&gt;&#10;  &lt;/Property&gt;&#10;  &lt;Property Name=&quot;PersonalId&quot; Version=&quot;0&quot;&gt;&#10;    &lt;data&gt;kaA=&lt;/data&gt;&#10;    &lt;timestamp&gt;638910082577144204&lt;/timestamp&gt;&#10;  &lt;/Property&gt;&#10;&lt;/Properties&gt;"/>
  <p:tag name="EMPOWER_CHARTS_DATA_ID" val="66E534C397B1445E9F52E5B01811C6B7"/>
  <p:tag name="EMPOWER_DATA_LAST_WRITE" val="63891008262561970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c1557727-7609-4053-b805-bdf36927ab1d"/>
  <p:tag name="80A7A10DB6674D838BF1EEE5B8760DF0-0" val="&lt;Properties&gt;&#10;  &lt;Property Name=&quot;LinkDataList&quot; Version=&quot;1&quot;&gt;&#10;    &lt;data&gt;kA==&lt;/data&gt;&#10;    &lt;timestamp&gt;638910081458323183&lt;/timestamp&gt;&#10;  &lt;/Property&gt;&#10;  &lt;Property Name=&quot;PersonalId&quot; Version=&quot;0&quot;&gt;&#10;    &lt;data&gt;kaA=&lt;/data&gt;&#10;    &lt;timestamp&gt;638910081461125465&lt;/timestamp&gt;&#10;  &lt;/Property&gt;&#10;&lt;/Properties&gt;"/>
  <p:tag name="EMPOWER_CHARTS_DATA_ID" val="80A7A10DB6674D838BF1EEE5B8760DF0"/>
  <p:tag name="EMPOWER_DATA_LAST_WRITE" val="63891008147114872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29301a18-72fd-4a08-8d24-ceec1d916abc"/>
  <p:tag name="121CDB4A0C3542F58F93F1FD36339A89-0" val="&lt;Properties&gt;&#10;  &lt;Property Name=&quot;LinkDataList&quot; Version=&quot;1&quot;&gt;&#10;    &lt;data&gt;kA==&lt;/data&gt;&#10;    &lt;timestamp&gt;638910081461403721&lt;/timestamp&gt;&#10;  &lt;/Property&gt;&#10;  &lt;Property Name=&quot;PersonalId&quot; Version=&quot;0&quot;&gt;&#10;    &lt;data&gt;kaA=&lt;/data&gt;&#10;    &lt;timestamp&gt;638910081461457633&lt;/timestamp&gt;&#10;  &lt;/Property&gt;&#10;&lt;/Properties&gt;"/>
  <p:tag name="EMPOWER_CHARTS_DATA_ID" val="121CDB4A0C3542F58F93F1FD36339A89"/>
  <p:tag name="EMPOWER_DATA_LAST_WRITE" val="63891008147159374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47d494bd-19c6-4d4d-877b-e06ccb7bd96f"/>
  <p:tag name="17F15DA4D14F41E693202D2BD597E98F-0" val="&lt;Properties&gt;&#10;  &lt;Property Name=&quot;LinkDataList&quot; Version=&quot;1&quot;&gt;&#10;    &lt;data&gt;kA==&lt;/data&gt;&#10;    &lt;timestamp&gt;638910082577436297&lt;/timestamp&gt;&#10;  &lt;/Property&gt;&#10;  &lt;Property Name=&quot;PersonalId&quot; Version=&quot;0&quot;&gt;&#10;    &lt;data&gt;kaA=&lt;/data&gt;&#10;    &lt;timestamp&gt;638910082577446966&lt;/timestamp&gt;&#10;  &lt;/Property&gt;&#10;&lt;/Properties&gt;"/>
  <p:tag name="EMPOWER_CHARTS_DATA_ID" val="17F15DA4D14F41E693202D2BD597E98F"/>
  <p:tag name="EMPOWER_DATA_LAST_WRITE" val="63891008262564150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87294078-8e62-48f6-a0b6-3cac775cc0db"/>
  <p:tag name="79281DB4DC964A8BBE34A706189B7FAD-0" val="&lt;Properties&gt;&#10;  &lt;Property Name=&quot;LinkDataList&quot; Version=&quot;1&quot;&gt;&#10;    &lt;data&gt;kA==&lt;/data&gt;&#10;    &lt;timestamp&gt;638910082577651040&lt;/timestamp&gt;&#10;  &lt;/Property&gt;&#10;  &lt;Property Name=&quot;PersonalId&quot; Version=&quot;0&quot;&gt;&#10;    &lt;data&gt;kaA=&lt;/data&gt;&#10;    &lt;timestamp&gt;638910082577660448&lt;/timestamp&gt;&#10;  &lt;/Property&gt;&#10;&lt;/Properties&gt;"/>
  <p:tag name="EMPOWER_CHARTS_DATA_ID" val="79281DB4DC964A8BBE34A706189B7FAD"/>
  <p:tag name="EMPOWER_DATA_LAST_WRITE" val="638910082625663277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e2875e8a-fa7e-4d30-b126-bd4e7689d8cd"/>
  <p:tag name="C58F837CB9D34AF49EA4531A55C4198E-0" val="&lt;Properties&gt;&#10;  &lt;Property Name=&quot;LinkDataList&quot; Version=&quot;1&quot;&gt;&#10;    &lt;data&gt;kA==&lt;/data&gt;&#10;    &lt;timestamp&gt;638910082577919617&lt;/timestamp&gt;&#10;  &lt;/Property&gt;&#10;  &lt;Property Name=&quot;PersonalId&quot; Version=&quot;0&quot;&gt;&#10;    &lt;data&gt;kaA=&lt;/data&gt;&#10;    &lt;timestamp&gt;638910082577927717&lt;/timestamp&gt;&#10;  &lt;/Property&gt;&#10;&lt;/Properties&gt;"/>
  <p:tag name="EMPOWER_CHARTS_DATA_ID" val="C58F837CB9D34AF49EA4531A55C4198E"/>
  <p:tag name="EMPOWER_DATA_LAST_WRITE" val="638910082625706679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be421723-8162-4b10-af4a-119d54066689"/>
  <p:tag name="89C846F06B8648F3AE4EE79992A38E0F-0" val="&lt;Properties&gt;&#10;  &lt;Property Name=&quot;LinkDataList&quot; Version=&quot;1&quot;&gt;&#10;    &lt;data&gt;kA==&lt;/data&gt;&#10;    &lt;timestamp&gt;638910081469218156&lt;/timestamp&gt;&#10;  &lt;/Property&gt;&#10;  &lt;Property Name=&quot;PersonalId&quot; Version=&quot;0&quot;&gt;&#10;    &lt;data&gt;kaA=&lt;/data&gt;&#10;    &lt;timestamp&gt;638910081469254225&lt;/timestamp&gt;&#10;  &lt;/Property&gt;&#10;&lt;/Properties&gt;"/>
  <p:tag name="EMPOWER_CHARTS_DATA_ID" val="89C846F06B8648F3AE4EE79992A38E0F"/>
  <p:tag name="EMPOWER_DATA_LAST_WRITE" val="63891008147934582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f39d12fb-4882-465c-b84e-9742fea9437f"/>
  <p:tag name="5CD43EA4CA3640918D3C53450746D75B-0" val="&lt;Properties&gt;&#10;  &lt;Property Name=&quot;LinkDataList&quot; Version=&quot;1&quot;&gt;&#10;    &lt;data&gt;kA==&lt;/data&gt;&#10;    &lt;timestamp&gt;638910081474992059&lt;/timestamp&gt;&#10;  &lt;/Property&gt;&#10;  &lt;Property Name=&quot;PersonalId&quot; Version=&quot;0&quot;&gt;&#10;    &lt;data&gt;kaA=&lt;/data&gt;&#10;    &lt;timestamp&gt;638910081475008412&lt;/timestamp&gt;&#10;  &lt;/Property&gt;&#10;&lt;/Properties&gt;"/>
  <p:tag name="EMPOWER_CHARTS_DATA_ID" val="5CD43EA4CA3640918D3C53450746D75B"/>
  <p:tag name="EMPOWER_DATA_LAST_WRITE" val="63891008148510667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50e5ee76-110c-4bad-85a1-9ef1f1e99b2b"/>
  <p:tag name="F5F807CFB8A64FC59347271CB05D87C8-0" val="&lt;Properties&gt;&#10;  &lt;Property Name=&quot;LinkDataList&quot; Version=&quot;1&quot;&gt;&#10;    &lt;data&gt;kA==&lt;/data&gt;&#10;    &lt;timestamp&gt;638910103761431036&lt;/timestamp&gt;&#10;  &lt;/Property&gt;&#10;  &lt;Property Name=&quot;PersonalId&quot; Version=&quot;0&quot;&gt;&#10;    &lt;data&gt;kaA=&lt;/data&gt;&#10;    &lt;timestamp&gt;638910103761453274&lt;/timestamp&gt;&#10;  &lt;/Property&gt;&#10;&lt;/Properties&gt;"/>
  <p:tag name="EMPOWER_CHARTS_DATA_ID" val="F5F807CFB8A64FC59347271CB05D87C8"/>
  <p:tag name="EMPOWER_DATA_LAST_WRITE" val="63891010377301378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eb5d3ba3-25b1-4ed5-8d2d-ab4d8d4e7f9d"/>
  <p:tag name="2CA893C12AD34CCDB2561E0C1168CD73-0" val="&lt;Properties&gt;&#10;  &lt;Property Name=&quot;LinkDataList&quot; Version=&quot;1&quot;&gt;&#10;    &lt;data&gt;kA==&lt;/data&gt;&#10;    &lt;timestamp&gt;638910089005563728&lt;/timestamp&gt;&#10;  &lt;/Property&gt;&#10;  &lt;Property Name=&quot;PersonalId&quot; Version=&quot;0&quot;&gt;&#10;    &lt;data&gt;kaA=&lt;/data&gt;&#10;    &lt;timestamp&gt;638910089005634485&lt;/timestamp&gt;&#10;  &lt;/Property&gt;&#10;&lt;/Properties&gt;"/>
  <p:tag name="EMPOWER_CHARTS_DATA_ID" val="2CA893C12AD34CCDB2561E0C1168CD73"/>
  <p:tag name="EMPOWER_DATA_LAST_WRITE" val="63891008901579411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fddcd772-9a96-475f-96eb-165ec37dffba"/>
  <p:tag name="CEC54DABC04745E8B59A22340B1A26E5-0" val="&lt;Properties&gt;&#10;  &lt;Property Name=&quot;LinkDataList&quot; Version=&quot;1&quot;&gt;&#10;    &lt;data&gt;kA==&lt;/data&gt;&#10;    &lt;timestamp&gt;638910103761980918&lt;/timestamp&gt;&#10;  &lt;/Property&gt;&#10;  &lt;Property Name=&quot;PersonalId&quot; Version=&quot;0&quot;&gt;&#10;    &lt;data&gt;kaA=&lt;/data&gt;&#10;    &lt;timestamp&gt;638910103762137317&lt;/timestamp&gt;&#10;  &lt;/Property&gt;&#10;&lt;/Properties&gt;"/>
  <p:tag name="EMPOWER_CHARTS_DATA_ID" val="CEC54DABC04745E8B59A22340B1A26E5"/>
  <p:tag name="EMPOWER_DATA_LAST_WRITE" val="63891010378011424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d7585070-1c8a-475b-b79a-74f35de60c6b"/>
  <p:tag name="513A06B4F3874BA58E6971E8D3B619EA-0" val="&lt;Properties&gt;&#10;  &lt;Property Name=&quot;LinkDataList&quot; Version=&quot;1&quot;&gt;&#10;    &lt;data&gt;kA==&lt;/data&gt;&#10;    &lt;timestamp&gt;638910103762602009&lt;/timestamp&gt;&#10;  &lt;/Property&gt;&#10;  &lt;Property Name=&quot;PersonalId&quot; Version=&quot;0&quot;&gt;&#10;    &lt;data&gt;kaA=&lt;/data&gt;&#10;    &lt;timestamp&gt;638910103762702357&lt;/timestamp&gt;&#10;  &lt;/Property&gt;&#10;&lt;/Properties&gt;"/>
  <p:tag name="EMPOWER_CHARTS_DATA_ID" val="513A06B4F3874BA58E6971E8D3B619EA"/>
  <p:tag name="EMPOWER_DATA_LAST_WRITE" val="63891010377307863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178769a7-6f61-467c-8f80-034007c5cd0c"/>
  <p:tag name="1C8C2A01E065440099CDDC389F5014DB-0" val="&lt;Properties&gt;&#10;  &lt;Property Name=&quot;LinkDataList&quot; Version=&quot;1&quot;&gt;&#10;    &lt;data&gt;kA==&lt;/data&gt;&#10;    &lt;timestamp&gt;638910103763140037&lt;/timestamp&gt;&#10;  &lt;/Property&gt;&#10;  &lt;Property Name=&quot;PersonalId&quot; Version=&quot;0&quot;&gt;&#10;    &lt;data&gt;kaA=&lt;/data&gt;&#10;    &lt;timestamp&gt;638910103763226859&lt;/timestamp&gt;&#10;  &lt;/Property&gt;&#10;&lt;/Properties&gt;"/>
  <p:tag name="EMPOWER_CHARTS_DATA_ID" val="1C8C2A01E065440099CDDC389F5014DB"/>
  <p:tag name="EMPOWER_DATA_LAST_WRITE" val="63891010377343456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NKED" val="TRUE"/>
  <p:tag name="EMPOWER DO NOT TRANSLATE" val="true"/>
  <p:tag name="408452DA3999429BBF2D2318BB0B4B61-0" val="&lt;Properties&gt;&#10;  &lt;Property Name=&quot;LinkDataList&quot; Version=&quot;1&quot;&gt;&#10;    &lt;data&gt;x8Nj0gAAALzwrZHcABPEEE/W1N+nRbZOlgT4BuTH75sBwwDZOEM6XFVzZXJzXEZpc2NoQTUwXERvd25sb2Fkc1xUZXN0IC0gUHJlcCBmb3IgUENGIEtJVC54bHN4wMCvPSdEaWFncmFtJyEkQyQ22SdlbXBDRExfMzYzOThlZjE3NmIyNGY1MTg4MDFmN2U0NzA1ZDdlNTigwqtjb21wYW55TmFtZdf/tsbNUGihfhQAzwjd3VvEqTwdz0AAAAAAAAAAkMLC&lt;/data&gt;&#10;    &lt;timestamp&gt;638910108367698626&lt;/timestamp&gt;&#10;  &lt;/Property&gt;&#10;  &lt;Property Name=&quot;PersonalId&quot; Version=&quot;0&quot;&gt;&#10;    &lt;data&gt;kaA=&lt;/data&gt;&#10;    &lt;timestamp&gt;638910103761453274&lt;/timestamp&gt;&#10;  &lt;/Property&gt;&#10;&lt;/Properties&gt;"/>
  <p:tag name="EMPOWER_CHARTS_DATA_ID" val="408452DA3999429BBF2D2318BB0B4B61"/>
  <p:tag name="EMPOWER_DATA_LAST_WRITE" val="638910108435852492"/>
  <p:tag name="RUNTIME_ID" val="ea08fe6e-2c1a-490f-9621-46709278c118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NKED" val="TRUE"/>
  <p:tag name="EMPOWER DO NOT TRANSLATE" val="true"/>
  <p:tag name="408452DA3999429BBF2D2318BB0B4B61-0" val="&lt;Properties&gt;&#10;  &lt;Property Name=&quot;LinkDataList&quot; Version=&quot;1&quot;&gt;&#10;    &lt;data&gt;x8Nj0gAAALzwrZHcABPEEE/W1N+nRbZOlgT4BuTH75sBwwDZOEM6XFVzZXJzXEZpc2NoQTUwXERvd25sb2Fkc1xUZXN0IC0gUHJlcCBmb3IgUENGIEtJVC54bHN4wMCvPSdEaWFncmFtJyEkQyQ22SdlbXBDRExfMzYzOThlZjE3NmIyNGY1MTg4MDFmN2U0NzA1ZDdlNTigwqtjb21wYW55TmFtZdf/tsbNUGihfhQAzwjd3VvEqTwdz0AAAAAAAAAAkMLC&lt;/data&gt;&#10;    &lt;timestamp&gt;638910108367698626&lt;/timestamp&gt;&#10;  &lt;/Property&gt;&#10;  &lt;Property Name=&quot;PersonalId&quot; Version=&quot;0&quot;&gt;&#10;    &lt;data&gt;kaA=&lt;/data&gt;&#10;    &lt;timestamp&gt;638910103761453274&lt;/timestamp&gt;&#10;  &lt;/Property&gt;&#10;&lt;/Properties&gt;"/>
  <p:tag name="EMPOWER_CHARTS_DATA_ID" val="408452DA3999429BBF2D2318BB0B4B61"/>
  <p:tag name="EMPOWER_DATA_LAST_WRITE" val="638910108435852492"/>
  <p:tag name="RUNTIME_ID" val="178f39d4-7d02-464a-9142-4f2ba52bf9f9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5BB60CB7650340929D9A27F5E435A3F5-0" val="&lt;Properties&gt;&#10;  &lt;Property Name=&quot;LinkDataList&quot; Version=&quot;1&quot;&gt;&#10;    &lt;data&gt;kA==&lt;/data&gt;&#10;    &lt;timestamp&gt;638910115050352410&lt;/timestamp&gt;&#10;  &lt;/Property&gt;&#10;  &lt;Property Name=&quot;PersonalId&quot; Version=&quot;0&quot;&gt;&#10;    &lt;data&gt;kaA=&lt;/data&gt;&#10;    &lt;timestamp&gt;638910103761453274&lt;/timestamp&gt;&#10;  &lt;/Property&gt;&#10;&lt;/Properties&gt;"/>
  <p:tag name="EMPOWER_CHARTS_DATA_ID" val="5BB60CB7650340929D9A27F5E435A3F5"/>
  <p:tag name="EMPOWER_DATA_LAST_WRITE" val="638910115060567757"/>
  <p:tag name="RUNTIME_ID" val="fa5fc295-89b9-46d1-946e-8a039141804c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5BB60CB7650340929D9A27F5E435A3F5-0" val="&lt;Properties&gt;&#10;  &lt;Property Name=&quot;LinkDataList&quot; Version=&quot;1&quot;&gt;&#10;    &lt;data&gt;kA==&lt;/data&gt;&#10;    &lt;timestamp&gt;638910115050352410&lt;/timestamp&gt;&#10;  &lt;/Property&gt;&#10;  &lt;Property Name=&quot;PersonalId&quot; Version=&quot;0&quot;&gt;&#10;    &lt;data&gt;kaA=&lt;/data&gt;&#10;    &lt;timestamp&gt;638910103761453274&lt;/timestamp&gt;&#10;  &lt;/Property&gt;&#10;&lt;/Properties&gt;"/>
  <p:tag name="EMPOWER_CHARTS_DATA_ID" val="5BB60CB7650340929D9A27F5E435A3F5"/>
  <p:tag name="EMPOWER_DATA_LAST_WRITE" val="638910115060567757"/>
  <p:tag name="RUNTIME_ID" val="7c645154-fda3-47ce-a3eb-d3746d2a3e2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5BB60CB7650340929D9A27F5E435A3F5-0" val="&lt;Properties&gt;&#10;  &lt;Property Name=&quot;LinkDataList&quot; Version=&quot;1&quot;&gt;&#10;    &lt;data&gt;kA==&lt;/data&gt;&#10;    &lt;timestamp&gt;638910115050352410&lt;/timestamp&gt;&#10;  &lt;/Property&gt;&#10;  &lt;Property Name=&quot;PersonalId&quot; Version=&quot;0&quot;&gt;&#10;    &lt;data&gt;kaA=&lt;/data&gt;&#10;    &lt;timestamp&gt;638910103761453274&lt;/timestamp&gt;&#10;  &lt;/Property&gt;&#10;&lt;/Properties&gt;"/>
  <p:tag name="EMPOWER_CHARTS_DATA_ID" val="5BB60CB7650340929D9A27F5E435A3F5"/>
  <p:tag name="EMPOWER_DATA_LAST_WRITE" val="638910115060567757"/>
  <p:tag name="RUNTIME_ID" val="0be833d6-e75c-40b5-a6c5-6d4fe131ce9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5BB60CB7650340929D9A27F5E435A3F5-0" val="&lt;Properties&gt;&#10;  &lt;Property Name=&quot;LinkDataList&quot; Version=&quot;1&quot;&gt;&#10;    &lt;data&gt;kA==&lt;/data&gt;&#10;    &lt;timestamp&gt;638910115050352410&lt;/timestamp&gt;&#10;  &lt;/Property&gt;&#10;  &lt;Property Name=&quot;PersonalId&quot; Version=&quot;0&quot;&gt;&#10;    &lt;data&gt;kaA=&lt;/data&gt;&#10;    &lt;timestamp&gt;638910103761453274&lt;/timestamp&gt;&#10;  &lt;/Property&gt;&#10;&lt;/Properties&gt;"/>
  <p:tag name="EMPOWER_CHARTS_DATA_ID" val="5BB60CB7650340929D9A27F5E435A3F5"/>
  <p:tag name="EMPOWER_DATA_LAST_WRITE" val="638910115060567757"/>
  <p:tag name="RUNTIME_ID" val="835f6e8c-bf4f-4c15-ab6a-12fedfb4a443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5BB60CB7650340929D9A27F5E435A3F5-0" val="&lt;Properties&gt;&#10;  &lt;Property Name=&quot;LinkDataList&quot; Version=&quot;1&quot;&gt;&#10;    &lt;data&gt;kA==&lt;/data&gt;&#10;    &lt;timestamp&gt;638910115050352410&lt;/timestamp&gt;&#10;  &lt;/Property&gt;&#10;  &lt;Property Name=&quot;PersonalId&quot; Version=&quot;0&quot;&gt;&#10;    &lt;data&gt;kaA=&lt;/data&gt;&#10;    &lt;timestamp&gt;638910103761453274&lt;/timestamp&gt;&#10;  &lt;/Property&gt;&#10;&lt;/Properties&gt;"/>
  <p:tag name="EMPOWER_CHARTS_DATA_ID" val="5BB60CB7650340929D9A27F5E435A3F5"/>
  <p:tag name="EMPOWER_DATA_LAST_WRITE" val="638910115060567757"/>
  <p:tag name="RUNTIME_ID" val="0b46e373-b0ae-468e-867e-c62f40e1d898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d2920230-75ea-4f92-b974-01044bbab8da"/>
  <p:tag name="FA654C97A7A94C998018964994AAD32F-0" val="&lt;Properties&gt;&#10;  &lt;Property Name=&quot;LinkDataList&quot; Version=&quot;1&quot;&gt;&#10;    &lt;data&gt;kA==&lt;/data&gt;&#10;    &lt;timestamp&gt;638910089005936616&lt;/timestamp&gt;&#10;  &lt;/Property&gt;&#10;  &lt;Property Name=&quot;PersonalId&quot; Version=&quot;0&quot;&gt;&#10;    &lt;data&gt;kaA=&lt;/data&gt;&#10;    &lt;timestamp&gt;638910089006021186&lt;/timestamp&gt;&#10;  &lt;/Property&gt;&#10;&lt;/Properties&gt;"/>
  <p:tag name="EMPOWER_CHARTS_DATA_ID" val="FA654C97A7A94C998018964994AAD32F"/>
  <p:tag name="EMPOWER_DATA_LAST_WRITE" val="638910089036716233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5BB60CB7650340929D9A27F5E435A3F5-0" val="&lt;Properties&gt;&#10;  &lt;Property Name=&quot;LinkDataList&quot; Version=&quot;1&quot;&gt;&#10;    &lt;data&gt;kA==&lt;/data&gt;&#10;    &lt;timestamp&gt;638910115050352410&lt;/timestamp&gt;&#10;  &lt;/Property&gt;&#10;  &lt;Property Name=&quot;PersonalId&quot; Version=&quot;0&quot;&gt;&#10;    &lt;data&gt;kaA=&lt;/data&gt;&#10;    &lt;timestamp&gt;638910103761453274&lt;/timestamp&gt;&#10;  &lt;/Property&gt;&#10;&lt;/Properties&gt;"/>
  <p:tag name="EMPOWER_CHARTS_DATA_ID" val="5BB60CB7650340929D9A27F5E435A3F5"/>
  <p:tag name="EMPOWER_DATA_LAST_WRITE" val="638910115060567757"/>
  <p:tag name="RUNTIME_ID" val="d26031c6-2ec3-40c0-a0cb-c4f6c652288b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5BB60CB7650340929D9A27F5E435A3F5-0" val="&lt;Properties&gt;&#10;  &lt;Property Name=&quot;LinkDataList&quot; Version=&quot;1&quot;&gt;&#10;    &lt;data&gt;kA==&lt;/data&gt;&#10;    &lt;timestamp&gt;638910115050352410&lt;/timestamp&gt;&#10;  &lt;/Property&gt;&#10;  &lt;Property Name=&quot;PersonalId&quot; Version=&quot;0&quot;&gt;&#10;    &lt;data&gt;kaA=&lt;/data&gt;&#10;    &lt;timestamp&gt;638910103761453274&lt;/timestamp&gt;&#10;  &lt;/Property&gt;&#10;&lt;/Properties&gt;"/>
  <p:tag name="EMPOWER_CHARTS_DATA_ID" val="5BB60CB7650340929D9A27F5E435A3F5"/>
  <p:tag name="EMPOWER_DATA_LAST_WRITE" val="638910115060567757"/>
  <p:tag name="RUNTIME_ID" val="eb56cb35-011a-4510-8277-9a177a91d39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5BB60CB7650340929D9A27F5E435A3F5-0" val="&lt;Properties&gt;&#10;  &lt;Property Name=&quot;LinkDataList&quot; Version=&quot;1&quot;&gt;&#10;    &lt;data&gt;kA==&lt;/data&gt;&#10;    &lt;timestamp&gt;638910115050352410&lt;/timestamp&gt;&#10;  &lt;/Property&gt;&#10;  &lt;Property Name=&quot;PersonalId&quot; Version=&quot;0&quot;&gt;&#10;    &lt;data&gt;kaA=&lt;/data&gt;&#10;    &lt;timestamp&gt;638910103761453274&lt;/timestamp&gt;&#10;  &lt;/Property&gt;&#10;&lt;/Properties&gt;"/>
  <p:tag name="EMPOWER_CHARTS_DATA_ID" val="5BB60CB7650340929D9A27F5E435A3F5"/>
  <p:tag name="EMPOWER_DATA_LAST_WRITE" val="638910115060567757"/>
  <p:tag name="RUNTIME_ID" val="b1e0e552-721f-4932-92bb-2971d233eb09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5BB60CB7650340929D9A27F5E435A3F5-0" val="&lt;Properties&gt;&#10;  &lt;Property Name=&quot;LinkDataList&quot; Version=&quot;1&quot;&gt;&#10;    &lt;data&gt;kA==&lt;/data&gt;&#10;    &lt;timestamp&gt;638910115050352410&lt;/timestamp&gt;&#10;  &lt;/Property&gt;&#10;  &lt;Property Name=&quot;PersonalId&quot; Version=&quot;0&quot;&gt;&#10;    &lt;data&gt;kaA=&lt;/data&gt;&#10;    &lt;timestamp&gt;638910103761453274&lt;/timestamp&gt;&#10;  &lt;/Property&gt;&#10;&lt;/Properties&gt;"/>
  <p:tag name="EMPOWER_CHARTS_DATA_ID" val="5BB60CB7650340929D9A27F5E435A3F5"/>
  <p:tag name="EMPOWER_DATA_LAST_WRITE" val="638910115060567757"/>
  <p:tag name="RUNTIME_ID" val="3f401be0-8fb0-4b64-a26d-dd575d2a9213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5BB60CB7650340929D9A27F5E435A3F5-0" val="&lt;Properties&gt;&#10;  &lt;Property Name=&quot;LinkDataList&quot; Version=&quot;1&quot;&gt;&#10;    &lt;data&gt;kA==&lt;/data&gt;&#10;    &lt;timestamp&gt;638910115050352410&lt;/timestamp&gt;&#10;  &lt;/Property&gt;&#10;  &lt;Property Name=&quot;PersonalId&quot; Version=&quot;0&quot;&gt;&#10;    &lt;data&gt;kaA=&lt;/data&gt;&#10;    &lt;timestamp&gt;638910103761453274&lt;/timestamp&gt;&#10;  &lt;/Property&gt;&#10;&lt;/Properties&gt;"/>
  <p:tag name="EMPOWER_CHARTS_DATA_ID" val="5BB60CB7650340929D9A27F5E435A3F5"/>
  <p:tag name="EMPOWER_DATA_LAST_WRITE" val="638910115060567757"/>
  <p:tag name="RUNTIME_ID" val="912304c1-759a-4516-8c6a-06955538063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5BB60CB7650340929D9A27F5E435A3F5-0" val="&lt;Properties&gt;&#10;  &lt;Property Name=&quot;LinkDataList&quot; Version=&quot;1&quot;&gt;&#10;    &lt;data&gt;kA==&lt;/data&gt;&#10;    &lt;timestamp&gt;638910115050352410&lt;/timestamp&gt;&#10;  &lt;/Property&gt;&#10;  &lt;Property Name=&quot;PersonalId&quot; Version=&quot;0&quot;&gt;&#10;    &lt;data&gt;kaA=&lt;/data&gt;&#10;    &lt;timestamp&gt;638910103761453274&lt;/timestamp&gt;&#10;  &lt;/Property&gt;&#10;&lt;/Properties&gt;"/>
  <p:tag name="EMPOWER_CHARTS_DATA_ID" val="5BB60CB7650340929D9A27F5E435A3F5"/>
  <p:tag name="EMPOWER_DATA_LAST_WRITE" val="638910115060567757"/>
  <p:tag name="RUNTIME_ID" val="854b6057-a26a-4beb-9d86-78e1111b849c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5BB60CB7650340929D9A27F5E435A3F5-0" val="&lt;Properties&gt;&#10;  &lt;Property Name=&quot;LinkDataList&quot; Version=&quot;1&quot;&gt;&#10;    &lt;data&gt;kA==&lt;/data&gt;&#10;    &lt;timestamp&gt;638910115050352410&lt;/timestamp&gt;&#10;  &lt;/Property&gt;&#10;  &lt;Property Name=&quot;PersonalId&quot; Version=&quot;0&quot;&gt;&#10;    &lt;data&gt;kaA=&lt;/data&gt;&#10;    &lt;timestamp&gt;638910103761453274&lt;/timestamp&gt;&#10;  &lt;/Property&gt;&#10;&lt;/Properties&gt;"/>
  <p:tag name="EMPOWER_CHARTS_DATA_ID" val="5BB60CB7650340929D9A27F5E435A3F5"/>
  <p:tag name="EMPOWER_DATA_LAST_WRITE" val="638910115060567757"/>
  <p:tag name="RUNTIME_ID" val="c4107b53-bef5-4ca2-a269-33174833e2b8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5BB60CB7650340929D9A27F5E435A3F5-0" val="&lt;Properties&gt;&#10;  &lt;Property Name=&quot;LinkDataList&quot; Version=&quot;1&quot;&gt;&#10;    &lt;data&gt;kA==&lt;/data&gt;&#10;    &lt;timestamp&gt;638910115050352410&lt;/timestamp&gt;&#10;  &lt;/Property&gt;&#10;  &lt;Property Name=&quot;PersonalId&quot; Version=&quot;0&quot;&gt;&#10;    &lt;data&gt;kaA=&lt;/data&gt;&#10;    &lt;timestamp&gt;638910103761453274&lt;/timestamp&gt;&#10;  &lt;/Property&gt;&#10;&lt;/Properties&gt;"/>
  <p:tag name="EMPOWER_CHARTS_DATA_ID" val="5BB60CB7650340929D9A27F5E435A3F5"/>
  <p:tag name="EMPOWER_DATA_LAST_WRITE" val="638910115060567757"/>
  <p:tag name="RUNTIME_ID" val="00d7a229-8076-4c02-9f47-4a441479e026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5BB60CB7650340929D9A27F5E435A3F5-0" val="&lt;Properties&gt;&#10;  &lt;Property Name=&quot;LinkDataList&quot; Version=&quot;1&quot;&gt;&#10;    &lt;data&gt;kA==&lt;/data&gt;&#10;    &lt;timestamp&gt;638910115050352410&lt;/timestamp&gt;&#10;  &lt;/Property&gt;&#10;  &lt;Property Name=&quot;PersonalId&quot; Version=&quot;0&quot;&gt;&#10;    &lt;data&gt;kaA=&lt;/data&gt;&#10;    &lt;timestamp&gt;638910103761453274&lt;/timestamp&gt;&#10;  &lt;/Property&gt;&#10;&lt;/Properties&gt;"/>
  <p:tag name="EMPOWER_CHARTS_DATA_ID" val="5BB60CB7650340929D9A27F5E435A3F5"/>
  <p:tag name="EMPOWER_DATA_LAST_WRITE" val="638910115060567757"/>
  <p:tag name="RUNTIME_ID" val="68d546d4-2989-4c98-9447-faa9fd6cdf9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5F807CFB8A64FC59347271CB05D87C8-0" val="&lt;Properties&gt;&#10;  &lt;Property Name=&quot;LinkDataList&quot; Version=&quot;1&quot;&gt;&#10;    &lt;data&gt;kA==&lt;/data&gt;&#10;    &lt;timestamp&gt;638910103761431036&lt;/timestamp&gt;&#10;  &lt;/Property&gt;&#10;  &lt;Property Name=&quot;PersonalId&quot; Version=&quot;0&quot;&gt;&#10;    &lt;data&gt;kaA=&lt;/data&gt;&#10;    &lt;timestamp&gt;638910103761453274&lt;/timestamp&gt;&#10;  &lt;/Property&gt;&#10;&lt;/Properties&gt;"/>
  <p:tag name="EMPOWER_CHARTS_DATA_ID" val="F5F807CFB8A64FC59347271CB05D87C8"/>
  <p:tag name="EMPOWER_DATA_LAST_WRITE" val="638910103773013780"/>
  <p:tag name="RUNTIME_ID" val="5611cdbb-034e-4596-ab78-8454f1d43a0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090006b9-cd71-4f8d-8a80-ff13641741a3"/>
  <p:tag name="FD0E742D2E294BFB89729F5BC6E61FDE-0" val="&lt;Properties&gt;&#10;  &lt;Property Name=&quot;LinkDataList&quot; Version=&quot;1&quot;&gt;&#10;    &lt;data&gt;kA==&lt;/data&gt;&#10;    &lt;timestamp&gt;638910081338639071&lt;/timestamp&gt;&#10;  &lt;/Property&gt;&#10;  &lt;Property Name=&quot;PersonalId&quot; Version=&quot;0&quot;&gt;&#10;    &lt;data&gt;kaA=&lt;/data&gt;&#10;    &lt;timestamp&gt;638910081338645377&lt;/timestamp&gt;&#10;  &lt;/Property&gt;&#10;&lt;/Properties&gt;"/>
  <p:tag name="EMPOWER_CHARTS_DATA_ID" val="FD0E742D2E294BFB89729F5BC6E61FDE"/>
  <p:tag name="EMPOWER_DATA_LAST_WRITE" val="638910081373339537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5F807CFB8A64FC59347271CB05D87C8-0" val="&lt;Properties&gt;&#10;  &lt;Property Name=&quot;LinkDataList&quot; Version=&quot;1&quot;&gt;&#10;    &lt;data&gt;kA==&lt;/data&gt;&#10;    &lt;timestamp&gt;638910103761431036&lt;/timestamp&gt;&#10;  &lt;/Property&gt;&#10;  &lt;Property Name=&quot;PersonalId&quot; Version=&quot;0&quot;&gt;&#10;    &lt;data&gt;kaA=&lt;/data&gt;&#10;    &lt;timestamp&gt;638910103761453274&lt;/timestamp&gt;&#10;  &lt;/Property&gt;&#10;&lt;/Properties&gt;"/>
  <p:tag name="EMPOWER_CHARTS_DATA_ID" val="F5F807CFB8A64FC59347271CB05D87C8"/>
  <p:tag name="EMPOWER_DATA_LAST_WRITE" val="638910103773013780"/>
  <p:tag name="RUNTIME_ID" val="3afbeaa1-202f-48f3-9f5d-cdfaed4dc4b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ef4f711f-473c-4a3d-9367-1eee367b0a36"/>
  <p:tag name="BBB1F5C802274D379A175551FB61CE6C-0" val="&lt;Properties&gt;&#10;  &lt;Property Name=&quot;LinkDataList&quot; Version=&quot;1&quot;&gt;&#10;    &lt;data&gt;kA==&lt;/data&gt;&#10;    &lt;timestamp&gt;638910082340694799&lt;/timestamp&gt;&#10;  &lt;/Property&gt;&#10;  &lt;Property Name=&quot;PersonalId&quot; Version=&quot;0&quot;&gt;&#10;    &lt;data&gt;kaA=&lt;/data&gt;&#10;    &lt;timestamp&gt;638910082340715460&lt;/timestamp&gt;&#10;  &lt;/Property&gt;&#10;&lt;/Properties&gt;"/>
  <p:tag name="EMPOWER_CHARTS_DATA_ID" val="BBB1F5C802274D379A175551FB61CE6C"/>
  <p:tag name="EMPOWER_DATA_LAST_WRITE" val="63891008235786192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7a2f2394-21b5-492b-8d85-838e12e197b1"/>
  <p:tag name="56F5B44726204969B850E22730B8BD7F-0" val="&lt;Properties&gt;&#10;  &lt;Property Name=&quot;LinkDataList&quot; Version=&quot;1&quot;&gt;&#10;    &lt;data&gt;kA==&lt;/data&gt;&#10;    &lt;timestamp&gt;638910082340951143&lt;/timestamp&gt;&#10;  &lt;/Property&gt;&#10;  &lt;Property Name=&quot;PersonalId&quot; Version=&quot;0&quot;&gt;&#10;    &lt;data&gt;kaA=&lt;/data&gt;&#10;    &lt;timestamp&gt;638910082340989446&lt;/timestamp&gt;&#10;  &lt;/Property&gt;&#10;&lt;/Properties&gt;"/>
  <p:tag name="EMPOWER_CHARTS_DATA_ID" val="56F5B44726204969B850E22730B8BD7F"/>
  <p:tag name="EMPOWER_DATA_LAST_WRITE" val="63891008235793241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3953decf-007d-4c28-927d-9aaaccaf3c6f"/>
  <p:tag name="6E339ED2DA9548BFA5F730F2599535ED-0" val="&lt;Properties&gt;&#10;  &lt;Property Name=&quot;LinkDataList&quot; Version=&quot;1&quot;&gt;&#10;    &lt;data&gt;kA==&lt;/data&gt;&#10;    &lt;timestamp&gt;638910081338991638&lt;/timestamp&gt;&#10;  &lt;/Property&gt;&#10;  &lt;Property Name=&quot;PersonalId&quot; Version=&quot;0&quot;&gt;&#10;    &lt;data&gt;kaA=&lt;/data&gt;&#10;    &lt;timestamp&gt;638910081339088440&lt;/timestamp&gt;&#10;  &lt;/Property&gt;&#10;&lt;/Properties&gt;"/>
  <p:tag name="EMPOWER_CHARTS_DATA_ID" val="6E339ED2DA9548BFA5F730F2599535ED"/>
  <p:tag name="EMPOWER_DATA_LAST_WRITE" val="638910081373401018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NTIME_ID" val="c54f5aac-d9b1-4187-93f9-28c542f6ff16"/>
  <p:tag name="0213FE3869C549F69B09E1505A110548-0" val="&lt;Properties&gt;&#10;  &lt;Property Name=&quot;LinkDataList&quot; Version=&quot;1&quot;&gt;&#10;    &lt;data&gt;kA==&lt;/data&gt;&#10;    &lt;timestamp&gt;638910082358995540&lt;/timestamp&gt;&#10;  &lt;/Property&gt;&#10;  &lt;Property Name=&quot;PersonalId&quot; Version=&quot;0&quot;&gt;&#10;    &lt;data&gt;kaA=&lt;/data&gt;&#10;    &lt;timestamp&gt;638910082359017304&lt;/timestamp&gt;&#10;  &lt;/Property&gt;&#10;&lt;/Properties&gt;"/>
  <p:tag name="EMPOWER_CHARTS_DATA_ID" val="0213FE3869C549F69B09E1505A110548"/>
  <p:tag name="EMPOWER_DATA_LAST_WRITE" val="638910082369193499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Them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ecaa386b-c8df-4ce0-ad01-740cbdb5ba55}" enabled="0" method="" siteId="{ecaa386b-c8df-4ce0-ad01-740cbdb5ba55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91</Words>
  <Application>Microsoft Office PowerPoint</Application>
  <PresentationFormat>Custom</PresentationFormat>
  <Paragraphs>117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Aptos Display</vt:lpstr>
      <vt:lpstr>Aptos Narrow</vt:lpstr>
      <vt:lpstr>Arial</vt:lpstr>
      <vt:lpstr>Office Theme</vt:lpstr>
      <vt:lpstr>PowerPoint Presentation</vt:lpstr>
    </vt:vector>
  </TitlesOfParts>
  <Company>BASF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ntje.fischer@basf.com</dc:creator>
  <cp:lastModifiedBy>antje.fischer@basf.com</cp:lastModifiedBy>
  <cp:revision>11</cp:revision>
  <dcterms:created xsi:type="dcterms:W3CDTF">2025-08-16T14:25:39Z</dcterms:created>
  <dcterms:modified xsi:type="dcterms:W3CDTF">2025-08-17T08:54:54Z</dcterms:modified>
</cp:coreProperties>
</file>